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0" r:id="rId1"/>
    <p:sldMasterId id="2147483704" r:id="rId2"/>
    <p:sldMasterId id="2147483816" r:id="rId3"/>
    <p:sldMasterId id="2147483838" r:id="rId4"/>
    <p:sldMasterId id="2147483862" r:id="rId5"/>
  </p:sldMasterIdLst>
  <p:notesMasterIdLst>
    <p:notesMasterId r:id="rId15"/>
  </p:notesMasterIdLst>
  <p:handoutMasterIdLst>
    <p:handoutMasterId r:id="rId16"/>
  </p:handoutMasterIdLst>
  <p:sldIdLst>
    <p:sldId id="454" r:id="rId6"/>
    <p:sldId id="3689" r:id="rId7"/>
    <p:sldId id="3685" r:id="rId8"/>
    <p:sldId id="3688" r:id="rId9"/>
    <p:sldId id="3686" r:id="rId10"/>
    <p:sldId id="3687" r:id="rId11"/>
    <p:sldId id="576" r:id="rId12"/>
    <p:sldId id="3570" r:id="rId13"/>
    <p:sldId id="3573" r:id="rId14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Estilo Médio 2 - Ênfas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47" autoAdjust="0"/>
    <p:restoredTop sz="94660"/>
  </p:normalViewPr>
  <p:slideViewPr>
    <p:cSldViewPr snapToGrid="0">
      <p:cViewPr varScale="1">
        <p:scale>
          <a:sx n="79" d="100"/>
          <a:sy n="79" d="100"/>
        </p:scale>
        <p:origin x="773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>
            <a:extLst>
              <a:ext uri="{FF2B5EF4-FFF2-40B4-BE49-F238E27FC236}">
                <a16:creationId xmlns:a16="http://schemas.microsoft.com/office/drawing/2014/main" id="{53D9F308-E93E-40FE-B8CE-59D088030DF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0E138EA0-54B1-4ACB-8BA9-2C9180EAAF6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C2D02AA-127A-4735-954D-EE9857050602}" type="datetimeFigureOut">
              <a:rPr lang="pt-BR" smtClean="0"/>
              <a:t>30/08/2025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E5A49D19-9311-48FB-BB19-1800A808F7A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5710524F-9C7E-44D1-8FDB-3122BFBDBD0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74D1E49-48D3-4DB7-955E-819E3AB4B51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967778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F8E009-D7F1-46FE-B505-C8D665191B62}" type="datetimeFigureOut">
              <a:rPr lang="pt-BR" smtClean="0"/>
              <a:t>30/08/202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668C047-53A7-45E2-903D-AB454A5A126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719526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spcBef>
                <a:spcPct val="30000"/>
              </a:spcBef>
              <a:defRPr sz="1300">
                <a:solidFill>
                  <a:schemeClr val="tx1"/>
                </a:solidFill>
                <a:latin typeface="Times New Roman" charset="0"/>
                <a:cs typeface="Arial" charset="0"/>
              </a:defRPr>
            </a:lvl1pPr>
            <a:lvl2pPr marL="804763" indent="-309524">
              <a:spcBef>
                <a:spcPct val="30000"/>
              </a:spcBef>
              <a:defRPr sz="1300">
                <a:solidFill>
                  <a:schemeClr val="tx1"/>
                </a:solidFill>
                <a:latin typeface="Times New Roman" charset="0"/>
                <a:cs typeface="Arial" charset="0"/>
              </a:defRPr>
            </a:lvl2pPr>
            <a:lvl3pPr marL="1238098" indent="-247620">
              <a:spcBef>
                <a:spcPct val="30000"/>
              </a:spcBef>
              <a:defRPr sz="1300">
                <a:solidFill>
                  <a:schemeClr val="tx1"/>
                </a:solidFill>
                <a:latin typeface="Times New Roman" charset="0"/>
                <a:cs typeface="Arial" charset="0"/>
              </a:defRPr>
            </a:lvl3pPr>
            <a:lvl4pPr marL="1733337" indent="-247620">
              <a:spcBef>
                <a:spcPct val="30000"/>
              </a:spcBef>
              <a:defRPr sz="1300">
                <a:solidFill>
                  <a:schemeClr val="tx1"/>
                </a:solidFill>
                <a:latin typeface="Times New Roman" charset="0"/>
                <a:cs typeface="Arial" charset="0"/>
              </a:defRPr>
            </a:lvl4pPr>
            <a:lvl5pPr marL="2228576" indent="-247620">
              <a:spcBef>
                <a:spcPct val="30000"/>
              </a:spcBef>
              <a:defRPr sz="1300">
                <a:solidFill>
                  <a:schemeClr val="tx1"/>
                </a:solidFill>
                <a:latin typeface="Times New Roman" charset="0"/>
                <a:cs typeface="Arial" charset="0"/>
              </a:defRPr>
            </a:lvl5pPr>
            <a:lvl6pPr marL="2723815" indent="-247620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imes New Roman" charset="0"/>
                <a:cs typeface="Arial" charset="0"/>
              </a:defRPr>
            </a:lvl6pPr>
            <a:lvl7pPr marL="3219054" indent="-247620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imes New Roman" charset="0"/>
                <a:cs typeface="Arial" charset="0"/>
              </a:defRPr>
            </a:lvl7pPr>
            <a:lvl8pPr marL="3714293" indent="-247620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imes New Roman" charset="0"/>
                <a:cs typeface="Arial" charset="0"/>
              </a:defRPr>
            </a:lvl8pPr>
            <a:lvl9pPr marL="4209532" indent="-247620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imes New Roman" charset="0"/>
                <a:cs typeface="Arial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B62EB6-88F4-479E-A175-54C928224DB4}" type="slidenum">
              <a:rPr kumimoji="0" lang="pt-BR" altLang="pt-BR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pt-BR" altLang="pt-BR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04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0484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6155614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B33F14-9C41-F371-589B-057193B339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7">
            <a:extLst>
              <a:ext uri="{FF2B5EF4-FFF2-40B4-BE49-F238E27FC236}">
                <a16:creationId xmlns:a16="http://schemas.microsoft.com/office/drawing/2014/main" id="{E6DB5EEC-0548-0258-46F4-C00BC8A94FB9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9B7981-AA00-479A-839B-0521F2C7024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46083" name="Rectangle 2">
            <a:extLst>
              <a:ext uri="{FF2B5EF4-FFF2-40B4-BE49-F238E27FC236}">
                <a16:creationId xmlns:a16="http://schemas.microsoft.com/office/drawing/2014/main" id="{554297A6-0A59-5B74-8B1E-FA76D278F228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0488" y="744538"/>
            <a:ext cx="6616700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6084" name="Rectangle 3">
            <a:extLst>
              <a:ext uri="{FF2B5EF4-FFF2-40B4-BE49-F238E27FC236}">
                <a16:creationId xmlns:a16="http://schemas.microsoft.com/office/drawing/2014/main" id="{47FCF132-FA67-FCD7-BAD4-71CF41DD677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>
              <a:ea typeface="ＭＳ Ｐゴシック" pitchFamily="-11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026827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E0E194-7FC0-C8DF-4E8E-DAE28CC568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7">
            <a:extLst>
              <a:ext uri="{FF2B5EF4-FFF2-40B4-BE49-F238E27FC236}">
                <a16:creationId xmlns:a16="http://schemas.microsoft.com/office/drawing/2014/main" id="{D7784CF5-2BA4-21EF-3E03-5E42476D9F8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9B7981-AA00-479A-839B-0521F2C7024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46083" name="Rectangle 2">
            <a:extLst>
              <a:ext uri="{FF2B5EF4-FFF2-40B4-BE49-F238E27FC236}">
                <a16:creationId xmlns:a16="http://schemas.microsoft.com/office/drawing/2014/main" id="{F1F89348-F444-575F-64FB-5F5DCD83544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0488" y="744538"/>
            <a:ext cx="6616700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6084" name="Rectangle 3">
            <a:extLst>
              <a:ext uri="{FF2B5EF4-FFF2-40B4-BE49-F238E27FC236}">
                <a16:creationId xmlns:a16="http://schemas.microsoft.com/office/drawing/2014/main" id="{64DD4634-3ADC-6B57-4F28-9D7760E7490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>
              <a:ea typeface="ＭＳ Ｐゴシック" pitchFamily="-11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079687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A34F10-6839-94CD-D497-BC89B8D163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7">
            <a:extLst>
              <a:ext uri="{FF2B5EF4-FFF2-40B4-BE49-F238E27FC236}">
                <a16:creationId xmlns:a16="http://schemas.microsoft.com/office/drawing/2014/main" id="{4679355B-15E0-BCB9-30F8-14628AEC0236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9B7981-AA00-479A-839B-0521F2C7024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46083" name="Rectangle 2">
            <a:extLst>
              <a:ext uri="{FF2B5EF4-FFF2-40B4-BE49-F238E27FC236}">
                <a16:creationId xmlns:a16="http://schemas.microsoft.com/office/drawing/2014/main" id="{575258A6-992A-AD23-A298-CFD73ED04B4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0488" y="744538"/>
            <a:ext cx="6616700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6084" name="Rectangle 3">
            <a:extLst>
              <a:ext uri="{FF2B5EF4-FFF2-40B4-BE49-F238E27FC236}">
                <a16:creationId xmlns:a16="http://schemas.microsoft.com/office/drawing/2014/main" id="{21016F75-9277-D8F3-1061-5AB356B8765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>
              <a:ea typeface="ＭＳ Ｐゴシック" pitchFamily="-11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15629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9B7981-AA00-479A-839B-0521F2C7024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460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0488" y="744538"/>
            <a:ext cx="6616700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6084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>
              <a:ea typeface="ＭＳ Ｐゴシック" pitchFamily="-111" charset="-128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59B7981-AA00-479A-839B-0521F2C70247}" type="slidenum">
              <a:rPr lang="en-US" smtClean="0">
                <a:latin typeface="Calibri" pitchFamily="34" charset="0"/>
              </a:rPr>
              <a:pPr/>
              <a:t>9</a:t>
            </a:fld>
            <a:endParaRPr lang="en-US">
              <a:latin typeface="Calibri" pitchFamily="34" charset="0"/>
            </a:endParaRPr>
          </a:p>
        </p:txBody>
      </p:sp>
      <p:sp>
        <p:nvSpPr>
          <p:cNvPr id="460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6084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>
              <a:ea typeface="ＭＳ Ｐゴシック" pitchFamily="-11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675739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A3639"/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Número de Slide 5"/>
          <p:cNvSpPr>
            <a:spLocks noGrp="1"/>
          </p:cNvSpPr>
          <p:nvPr>
            <p:ph type="sldNum" sz="quarter" idx="10"/>
          </p:nvPr>
        </p:nvSpPr>
        <p:spPr>
          <a:xfrm>
            <a:off x="9605433" y="6477000"/>
            <a:ext cx="2540000" cy="304800"/>
          </a:xfrm>
        </p:spPr>
        <p:txBody>
          <a:bodyPr/>
          <a:lstStyle>
            <a:lvl1pPr>
              <a:defRPr smtClean="0"/>
            </a:lvl1pPr>
          </a:lstStyle>
          <a:p>
            <a:fld id="{58D791C9-B607-46F9-8AB6-B5C358FAAFD8}" type="slidenum">
              <a:rPr lang="pt-BR" altLang="pt-BR" smtClean="0">
                <a:solidFill>
                  <a:srgbClr val="000000"/>
                </a:solidFill>
              </a:rPr>
              <a:pPr/>
              <a:t>‹nº›</a:t>
            </a:fld>
            <a:endParaRPr lang="pt-BR" alt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0964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fld id="{2C31CDBC-9382-43CC-B8D9-A978F11CD757}" type="slidenum">
              <a:rPr lang="pt-BR" altLang="pt-BR" smtClean="0">
                <a:solidFill>
                  <a:srgbClr val="000000"/>
                </a:solidFill>
              </a:rPr>
              <a:pPr/>
              <a:t>‹nº›</a:t>
            </a:fld>
            <a:endParaRPr lang="pt-BR" alt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46893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915400" y="381000"/>
            <a:ext cx="2870200" cy="5791200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304800" y="381000"/>
            <a:ext cx="8407400" cy="5791200"/>
          </a:xfrm>
        </p:spPr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fld id="{B3F819D6-DEFE-415F-BE83-5F960F99A1A4}" type="slidenum">
              <a:rPr lang="pt-BR" altLang="pt-BR" smtClean="0">
                <a:solidFill>
                  <a:srgbClr val="000000"/>
                </a:solidFill>
              </a:rPr>
              <a:pPr/>
              <a:t>‹nº›</a:t>
            </a:fld>
            <a:endParaRPr lang="pt-BR" alt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4791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089AD01-BFE5-4F0B-A134-C24E3E98546E}" type="slidenum">
              <a:rPr lang="pt-BR" altLang="pt-BR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pt-BR" alt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54375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ntent Layout: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4060" y="1598613"/>
            <a:ext cx="5266944" cy="4387850"/>
          </a:xfrm>
        </p:spPr>
        <p:txBody>
          <a:bodyPr/>
          <a:lstStyle>
            <a:lvl1pPr>
              <a:buClr>
                <a:srgbClr val="69C0C9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rgbClr val="69C0C9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1"/>
          </p:nvPr>
        </p:nvSpPr>
        <p:spPr>
          <a:xfrm>
            <a:off x="613834" y="1600201"/>
            <a:ext cx="5262033" cy="4379913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/>
              <a:t>Click icon to add chart</a:t>
            </a:r>
            <a:endParaRPr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641773" y="6356350"/>
            <a:ext cx="91440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r>
              <a:rPr lang="en-GB"/>
              <a:t>Essentials For Powerpoint - Guidance</a:t>
            </a:r>
          </a:p>
        </p:txBody>
      </p:sp>
      <p:sp>
        <p:nvSpPr>
          <p:cNvPr id="9" name="Slide Number Placeholder 10"/>
          <p:cNvSpPr>
            <a:spLocks noGrp="1"/>
          </p:cNvSpPr>
          <p:nvPr>
            <p:ph type="sldNum" sz="quarter" idx="12"/>
          </p:nvPr>
        </p:nvSpPr>
        <p:spPr bwMode="auto">
          <a:xfrm>
            <a:off x="641773" y="6492875"/>
            <a:ext cx="3048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fld id="{FD2CE176-C7C5-42C4-916B-A90017B8846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Date Placeholder 12"/>
          <p:cNvSpPr>
            <a:spLocks noGrp="1"/>
          </p:cNvSpPr>
          <p:nvPr>
            <p:ph type="dt" sz="quarter" idx="13"/>
          </p:nvPr>
        </p:nvSpPr>
        <p:spPr bwMode="auto">
          <a:xfrm>
            <a:off x="955905" y="6492875"/>
            <a:ext cx="88392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r>
              <a:rPr lang="en-US"/>
              <a:t>May 2013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6304068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7485" y="1"/>
            <a:ext cx="10968567" cy="818685"/>
          </a:xfrm>
        </p:spPr>
        <p:txBody>
          <a:bodyPr anchor="b"/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69C0C9"/>
              </a:buClr>
              <a:defRPr sz="2000"/>
            </a:lvl1pPr>
            <a:lvl2pPr>
              <a:buClr>
                <a:srgbClr val="69C0C9"/>
              </a:buClr>
              <a:defRPr/>
            </a:lvl2pPr>
            <a:lvl3pPr>
              <a:buClr>
                <a:srgbClr val="69C0C9"/>
              </a:buClr>
              <a:defRPr/>
            </a:lvl3pPr>
            <a:lvl4pPr>
              <a:buClr>
                <a:srgbClr val="69C0C9"/>
              </a:buClr>
              <a:defRPr/>
            </a:lvl4pPr>
            <a:lvl5pPr>
              <a:buClr>
                <a:srgbClr val="69C0C9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13833" y="981075"/>
            <a:ext cx="10968000" cy="444500"/>
          </a:xfrm>
        </p:spPr>
        <p:txBody>
          <a:bodyPr/>
          <a:lstStyle>
            <a:lvl1pPr marL="0" indent="0">
              <a:buNone/>
              <a:defRPr>
                <a:solidFill>
                  <a:srgbClr val="69C0C9"/>
                </a:solidFill>
              </a:defRPr>
            </a:lvl1pPr>
          </a:lstStyle>
          <a:p>
            <a:pPr lvl="0"/>
            <a:r>
              <a:rPr lang="en-US" dirty="0"/>
              <a:t>Click to edit Subtitle text styles</a:t>
            </a:r>
            <a:endParaRPr lang="en-GB" dirty="0"/>
          </a:p>
        </p:txBody>
      </p:sp>
      <p:sp>
        <p:nvSpPr>
          <p:cNvPr id="9" name="Slide Number Placeholder 10"/>
          <p:cNvSpPr>
            <a:spLocks noGrp="1"/>
          </p:cNvSpPr>
          <p:nvPr>
            <p:ph type="sldNum" sz="quarter" idx="12"/>
          </p:nvPr>
        </p:nvSpPr>
        <p:spPr bwMode="auto">
          <a:xfrm>
            <a:off x="641773" y="6492875"/>
            <a:ext cx="3048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fld id="{FD2CE176-C7C5-42C4-916B-A90017B8846D}" type="slidenum">
              <a:rPr lang="en-GB" smtClean="0"/>
              <a:pPr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1454685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7485" y="1"/>
            <a:ext cx="10968567" cy="818685"/>
          </a:xfrm>
        </p:spPr>
        <p:txBody>
          <a:bodyPr anchor="b"/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69C0C9"/>
              </a:buClr>
              <a:defRPr sz="2000"/>
            </a:lvl1pPr>
            <a:lvl2pPr>
              <a:buClr>
                <a:srgbClr val="69C0C9"/>
              </a:buClr>
              <a:defRPr/>
            </a:lvl2pPr>
            <a:lvl3pPr>
              <a:buClr>
                <a:srgbClr val="69C0C9"/>
              </a:buClr>
              <a:defRPr/>
            </a:lvl3pPr>
            <a:lvl4pPr>
              <a:buClr>
                <a:srgbClr val="69C0C9"/>
              </a:buClr>
              <a:defRPr/>
            </a:lvl4pPr>
            <a:lvl5pPr>
              <a:buClr>
                <a:srgbClr val="69C0C9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13833" y="981075"/>
            <a:ext cx="10968000" cy="444500"/>
          </a:xfrm>
        </p:spPr>
        <p:txBody>
          <a:bodyPr/>
          <a:lstStyle>
            <a:lvl1pPr marL="0" indent="0">
              <a:buNone/>
              <a:defRPr>
                <a:solidFill>
                  <a:srgbClr val="69C0C9"/>
                </a:solidFill>
              </a:defRPr>
            </a:lvl1pPr>
          </a:lstStyle>
          <a:p>
            <a:pPr lvl="0"/>
            <a:r>
              <a:rPr lang="en-US" dirty="0"/>
              <a:t>Click to edit Subtitle text styles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 bwMode="auto">
          <a:xfrm>
            <a:off x="641773" y="6356350"/>
            <a:ext cx="91440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r>
              <a:rPr lang="en-GB"/>
              <a:t>Essentials For Powerpoint - Guidance</a:t>
            </a:r>
          </a:p>
        </p:txBody>
      </p:sp>
      <p:sp>
        <p:nvSpPr>
          <p:cNvPr id="9" name="Slide Number Placeholder 10"/>
          <p:cNvSpPr>
            <a:spLocks noGrp="1"/>
          </p:cNvSpPr>
          <p:nvPr>
            <p:ph type="sldNum" sz="quarter" idx="12"/>
          </p:nvPr>
        </p:nvSpPr>
        <p:spPr bwMode="auto">
          <a:xfrm>
            <a:off x="641773" y="6492875"/>
            <a:ext cx="3048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fld id="{FD2CE176-C7C5-42C4-916B-A90017B8846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Date Placeholder 12"/>
          <p:cNvSpPr>
            <a:spLocks noGrp="1"/>
          </p:cNvSpPr>
          <p:nvPr>
            <p:ph type="dt" sz="quarter" idx="13"/>
          </p:nvPr>
        </p:nvSpPr>
        <p:spPr bwMode="auto">
          <a:xfrm>
            <a:off x="955905" y="6492875"/>
            <a:ext cx="88392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r>
              <a:rPr lang="en-US"/>
              <a:t>May 2013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57119052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32604631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ntent Layout: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4060" y="1598613"/>
            <a:ext cx="5266944" cy="4387850"/>
          </a:xfrm>
        </p:spPr>
        <p:txBody>
          <a:bodyPr/>
          <a:lstStyle>
            <a:lvl1pPr>
              <a:buClr>
                <a:srgbClr val="69C0C9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rgbClr val="69C0C9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1"/>
          </p:nvPr>
        </p:nvSpPr>
        <p:spPr>
          <a:xfrm>
            <a:off x="613834" y="1600201"/>
            <a:ext cx="5262033" cy="4379913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/>
              <a:t>Click icon to add chart</a:t>
            </a:r>
            <a:endParaRPr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641773" y="6356350"/>
            <a:ext cx="91440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r>
              <a:rPr lang="en-GB"/>
              <a:t>Essentials For Powerpoint - Guidance</a:t>
            </a:r>
          </a:p>
        </p:txBody>
      </p:sp>
      <p:sp>
        <p:nvSpPr>
          <p:cNvPr id="9" name="Slide Number Placeholder 10"/>
          <p:cNvSpPr>
            <a:spLocks noGrp="1"/>
          </p:cNvSpPr>
          <p:nvPr>
            <p:ph type="sldNum" sz="quarter" idx="12"/>
          </p:nvPr>
        </p:nvSpPr>
        <p:spPr bwMode="auto">
          <a:xfrm>
            <a:off x="641773" y="6492875"/>
            <a:ext cx="3048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fld id="{FD2CE176-C7C5-42C4-916B-A90017B8846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Date Placeholder 12"/>
          <p:cNvSpPr>
            <a:spLocks noGrp="1"/>
          </p:cNvSpPr>
          <p:nvPr>
            <p:ph type="dt" sz="quarter" idx="13"/>
          </p:nvPr>
        </p:nvSpPr>
        <p:spPr bwMode="auto">
          <a:xfrm>
            <a:off x="955905" y="6492875"/>
            <a:ext cx="88392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r>
              <a:rPr lang="en-US"/>
              <a:t>May 2013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0077848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7485" y="1"/>
            <a:ext cx="10968567" cy="818685"/>
          </a:xfrm>
        </p:spPr>
        <p:txBody>
          <a:bodyPr anchor="b"/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69C0C9"/>
              </a:buClr>
              <a:defRPr sz="2000"/>
            </a:lvl1pPr>
            <a:lvl2pPr>
              <a:buClr>
                <a:srgbClr val="69C0C9"/>
              </a:buClr>
              <a:defRPr/>
            </a:lvl2pPr>
            <a:lvl3pPr>
              <a:buClr>
                <a:srgbClr val="69C0C9"/>
              </a:buClr>
              <a:defRPr/>
            </a:lvl3pPr>
            <a:lvl4pPr>
              <a:buClr>
                <a:srgbClr val="69C0C9"/>
              </a:buClr>
              <a:defRPr/>
            </a:lvl4pPr>
            <a:lvl5pPr>
              <a:buClr>
                <a:srgbClr val="69C0C9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13833" y="981075"/>
            <a:ext cx="10968000" cy="444500"/>
          </a:xfrm>
        </p:spPr>
        <p:txBody>
          <a:bodyPr/>
          <a:lstStyle>
            <a:lvl1pPr marL="0" indent="0">
              <a:buNone/>
              <a:defRPr>
                <a:solidFill>
                  <a:srgbClr val="69C0C9"/>
                </a:solidFill>
              </a:defRPr>
            </a:lvl1pPr>
          </a:lstStyle>
          <a:p>
            <a:pPr lvl="0"/>
            <a:r>
              <a:rPr lang="en-US" dirty="0"/>
              <a:t>Click to edit Subtitle text styles</a:t>
            </a:r>
            <a:endParaRPr lang="en-GB" dirty="0"/>
          </a:p>
        </p:txBody>
      </p:sp>
      <p:sp>
        <p:nvSpPr>
          <p:cNvPr id="9" name="Slide Number Placeholder 10"/>
          <p:cNvSpPr>
            <a:spLocks noGrp="1"/>
          </p:cNvSpPr>
          <p:nvPr>
            <p:ph type="sldNum" sz="quarter" idx="12"/>
          </p:nvPr>
        </p:nvSpPr>
        <p:spPr bwMode="auto">
          <a:xfrm>
            <a:off x="641773" y="6492875"/>
            <a:ext cx="3048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fld id="{FD2CE176-C7C5-42C4-916B-A90017B8846D}" type="slidenum">
              <a:rPr lang="en-GB" smtClean="0"/>
              <a:pPr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577490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7485" y="1"/>
            <a:ext cx="10968567" cy="818685"/>
          </a:xfrm>
        </p:spPr>
        <p:txBody>
          <a:bodyPr anchor="b"/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69C0C9"/>
              </a:buClr>
              <a:defRPr sz="2000"/>
            </a:lvl1pPr>
            <a:lvl2pPr>
              <a:buClr>
                <a:srgbClr val="69C0C9"/>
              </a:buClr>
              <a:defRPr/>
            </a:lvl2pPr>
            <a:lvl3pPr>
              <a:buClr>
                <a:srgbClr val="69C0C9"/>
              </a:buClr>
              <a:defRPr/>
            </a:lvl3pPr>
            <a:lvl4pPr>
              <a:buClr>
                <a:srgbClr val="69C0C9"/>
              </a:buClr>
              <a:defRPr/>
            </a:lvl4pPr>
            <a:lvl5pPr>
              <a:buClr>
                <a:srgbClr val="69C0C9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13833" y="981075"/>
            <a:ext cx="10968000" cy="444500"/>
          </a:xfrm>
        </p:spPr>
        <p:txBody>
          <a:bodyPr/>
          <a:lstStyle>
            <a:lvl1pPr marL="0" indent="0">
              <a:buNone/>
              <a:defRPr>
                <a:solidFill>
                  <a:srgbClr val="69C0C9"/>
                </a:solidFill>
              </a:defRPr>
            </a:lvl1pPr>
          </a:lstStyle>
          <a:p>
            <a:pPr lvl="0"/>
            <a:r>
              <a:rPr lang="en-US" dirty="0"/>
              <a:t>Click to edit Subtitle text styles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 bwMode="auto">
          <a:xfrm>
            <a:off x="641773" y="6356350"/>
            <a:ext cx="91440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r>
              <a:rPr lang="en-GB"/>
              <a:t>Essentials For Powerpoint - Guidance</a:t>
            </a:r>
          </a:p>
        </p:txBody>
      </p:sp>
      <p:sp>
        <p:nvSpPr>
          <p:cNvPr id="9" name="Slide Number Placeholder 10"/>
          <p:cNvSpPr>
            <a:spLocks noGrp="1"/>
          </p:cNvSpPr>
          <p:nvPr>
            <p:ph type="sldNum" sz="quarter" idx="12"/>
          </p:nvPr>
        </p:nvSpPr>
        <p:spPr bwMode="auto">
          <a:xfrm>
            <a:off x="641773" y="6492875"/>
            <a:ext cx="3048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fld id="{FD2CE176-C7C5-42C4-916B-A90017B8846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Date Placeholder 12"/>
          <p:cNvSpPr>
            <a:spLocks noGrp="1"/>
          </p:cNvSpPr>
          <p:nvPr>
            <p:ph type="dt" sz="quarter" idx="13"/>
          </p:nvPr>
        </p:nvSpPr>
        <p:spPr bwMode="auto">
          <a:xfrm>
            <a:off x="955905" y="6492875"/>
            <a:ext cx="88392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r>
              <a:rPr lang="en-US"/>
              <a:t>May 2013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1600639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bg>
      <p:bgPr>
        <a:solidFill>
          <a:srgbClr val="BF2F3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812800" y="2514600"/>
            <a:ext cx="10261600" cy="1295400"/>
          </a:xfrm>
        </p:spPr>
        <p:txBody>
          <a:bodyPr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pt-BR" noProof="0"/>
              <a:t>Clique para editar o título mestre</a:t>
            </a:r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812800" y="4191000"/>
            <a:ext cx="10261600" cy="762000"/>
          </a:xfrm>
        </p:spPr>
        <p:txBody>
          <a:bodyPr/>
          <a:lstStyle>
            <a:lvl1pPr marL="0" indent="0">
              <a:buFontTx/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pt-BR" noProof="0"/>
              <a:t>Clique para editar o estilo do subtítulo mestre</a:t>
            </a:r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fld id="{B8459A58-C94A-4F54-BCF4-63F1F8575FCA}" type="slidenum">
              <a:rPr lang="pt-BR" altLang="pt-BR" smtClean="0">
                <a:solidFill>
                  <a:srgbClr val="FFFFFF"/>
                </a:solidFill>
              </a:rPr>
              <a:pPr/>
              <a:t>‹nº›</a:t>
            </a:fld>
            <a:endParaRPr lang="pt-BR" altLang="pt-B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223013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8" name="Slide Number Placeholder 10"/>
          <p:cNvSpPr>
            <a:spLocks noGrp="1"/>
          </p:cNvSpPr>
          <p:nvPr>
            <p:ph type="sldNum" sz="quarter" idx="11"/>
          </p:nvPr>
        </p:nvSpPr>
        <p:spPr bwMode="auto">
          <a:xfrm>
            <a:off x="641773" y="6492875"/>
            <a:ext cx="3048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fld id="{FD2CE176-C7C5-42C4-916B-A90017B8846D}" type="slidenum">
              <a:rPr lang="en-GB" smtClean="0"/>
              <a:pPr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3243413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914401" y="2130427"/>
            <a:ext cx="10363200" cy="1470025"/>
          </a:xfrm>
        </p:spPr>
        <p:txBody>
          <a:bodyPr/>
          <a:lstStyle/>
          <a:p>
            <a:r>
              <a:rPr lang="es-ES_tradnl"/>
              <a:t>Clic para editar título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1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/>
              <a:t>Haga clic para modificar el estilo de subtítul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 - For internal use only</a:t>
            </a:r>
            <a:endParaRPr lang="es-ES_tradn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B1730-21FC-CE45-A97B-A32BCC05881C}" type="slidenum">
              <a:rPr lang="es-ES_tradnl" smtClean="0"/>
              <a:pPr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69076963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8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300" b="0" cap="none" baseline="0">
                <a:solidFill>
                  <a:schemeClr val="accent3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24128" y="2967788"/>
            <a:ext cx="4754880" cy="334157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989320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2300" b="0" kern="1200" cap="none" baseline="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None/>
            </a:pPr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989320" y="2967788"/>
            <a:ext cx="4754880" cy="334157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dirty="0"/>
              <a:t>8/30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51814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dirty="0"/>
              <a:t>8/30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992120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ntent Layout: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4060" y="1598613"/>
            <a:ext cx="5266944" cy="4387850"/>
          </a:xfrm>
        </p:spPr>
        <p:txBody>
          <a:bodyPr/>
          <a:lstStyle>
            <a:lvl1pPr>
              <a:buClr>
                <a:srgbClr val="69C0C9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rgbClr val="69C0C9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1"/>
          </p:nvPr>
        </p:nvSpPr>
        <p:spPr>
          <a:xfrm>
            <a:off x="613834" y="1600201"/>
            <a:ext cx="5262033" cy="4379913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/>
              <a:t>Click icon to add chart</a:t>
            </a:r>
            <a:endParaRPr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641773" y="6356350"/>
            <a:ext cx="91440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r>
              <a:rPr lang="en-GB"/>
              <a:t>Essentials For Powerpoint - Guidance</a:t>
            </a:r>
          </a:p>
        </p:txBody>
      </p:sp>
      <p:sp>
        <p:nvSpPr>
          <p:cNvPr id="9" name="Slide Number Placeholder 10"/>
          <p:cNvSpPr>
            <a:spLocks noGrp="1"/>
          </p:cNvSpPr>
          <p:nvPr>
            <p:ph type="sldNum" sz="quarter" idx="12"/>
          </p:nvPr>
        </p:nvSpPr>
        <p:spPr bwMode="auto">
          <a:xfrm>
            <a:off x="641773" y="6492875"/>
            <a:ext cx="3048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fld id="{FD2CE176-C7C5-42C4-916B-A90017B8846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Date Placeholder 12"/>
          <p:cNvSpPr>
            <a:spLocks noGrp="1"/>
          </p:cNvSpPr>
          <p:nvPr>
            <p:ph type="dt" sz="quarter" idx="13"/>
          </p:nvPr>
        </p:nvSpPr>
        <p:spPr bwMode="auto">
          <a:xfrm>
            <a:off x="955905" y="6492875"/>
            <a:ext cx="88392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r>
              <a:rPr lang="en-US"/>
              <a:t>May 2013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130410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7485" y="1"/>
            <a:ext cx="10968567" cy="818685"/>
          </a:xfrm>
        </p:spPr>
        <p:txBody>
          <a:bodyPr anchor="b"/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69C0C9"/>
              </a:buClr>
              <a:defRPr sz="2000"/>
            </a:lvl1pPr>
            <a:lvl2pPr>
              <a:buClr>
                <a:srgbClr val="69C0C9"/>
              </a:buClr>
              <a:defRPr/>
            </a:lvl2pPr>
            <a:lvl3pPr>
              <a:buClr>
                <a:srgbClr val="69C0C9"/>
              </a:buClr>
              <a:defRPr/>
            </a:lvl3pPr>
            <a:lvl4pPr>
              <a:buClr>
                <a:srgbClr val="69C0C9"/>
              </a:buClr>
              <a:defRPr/>
            </a:lvl4pPr>
            <a:lvl5pPr>
              <a:buClr>
                <a:srgbClr val="69C0C9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13833" y="981075"/>
            <a:ext cx="10968000" cy="444500"/>
          </a:xfrm>
        </p:spPr>
        <p:txBody>
          <a:bodyPr/>
          <a:lstStyle>
            <a:lvl1pPr marL="0" indent="0">
              <a:buNone/>
              <a:defRPr>
                <a:solidFill>
                  <a:srgbClr val="69C0C9"/>
                </a:solidFill>
              </a:defRPr>
            </a:lvl1pPr>
          </a:lstStyle>
          <a:p>
            <a:pPr lvl="0"/>
            <a:r>
              <a:rPr lang="en-US" dirty="0"/>
              <a:t>Click to edit Subtitle text styles</a:t>
            </a:r>
            <a:endParaRPr lang="en-GB" dirty="0"/>
          </a:p>
        </p:txBody>
      </p:sp>
      <p:sp>
        <p:nvSpPr>
          <p:cNvPr id="9" name="Slide Number Placeholder 10"/>
          <p:cNvSpPr>
            <a:spLocks noGrp="1"/>
          </p:cNvSpPr>
          <p:nvPr>
            <p:ph type="sldNum" sz="quarter" idx="12"/>
          </p:nvPr>
        </p:nvSpPr>
        <p:spPr bwMode="auto">
          <a:xfrm>
            <a:off x="641773" y="6492875"/>
            <a:ext cx="3048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fld id="{FD2CE176-C7C5-42C4-916B-A90017B8846D}" type="slidenum">
              <a:rPr lang="en-GB" smtClean="0"/>
              <a:pPr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51437544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7485" y="1"/>
            <a:ext cx="10968567" cy="818685"/>
          </a:xfrm>
        </p:spPr>
        <p:txBody>
          <a:bodyPr anchor="b"/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69C0C9"/>
              </a:buClr>
              <a:defRPr sz="2000"/>
            </a:lvl1pPr>
            <a:lvl2pPr>
              <a:buClr>
                <a:srgbClr val="69C0C9"/>
              </a:buClr>
              <a:defRPr/>
            </a:lvl2pPr>
            <a:lvl3pPr>
              <a:buClr>
                <a:srgbClr val="69C0C9"/>
              </a:buClr>
              <a:defRPr/>
            </a:lvl3pPr>
            <a:lvl4pPr>
              <a:buClr>
                <a:srgbClr val="69C0C9"/>
              </a:buClr>
              <a:defRPr/>
            </a:lvl4pPr>
            <a:lvl5pPr>
              <a:buClr>
                <a:srgbClr val="69C0C9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13833" y="981075"/>
            <a:ext cx="10968000" cy="444500"/>
          </a:xfrm>
        </p:spPr>
        <p:txBody>
          <a:bodyPr/>
          <a:lstStyle>
            <a:lvl1pPr marL="0" indent="0">
              <a:buNone/>
              <a:defRPr>
                <a:solidFill>
                  <a:srgbClr val="69C0C9"/>
                </a:solidFill>
              </a:defRPr>
            </a:lvl1pPr>
          </a:lstStyle>
          <a:p>
            <a:pPr lvl="0"/>
            <a:r>
              <a:rPr lang="en-US" dirty="0"/>
              <a:t>Click to edit Subtitle text styles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 bwMode="auto">
          <a:xfrm>
            <a:off x="641773" y="6356350"/>
            <a:ext cx="91440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r>
              <a:rPr lang="en-GB"/>
              <a:t>Essentials For Powerpoint - Guidance</a:t>
            </a:r>
          </a:p>
        </p:txBody>
      </p:sp>
      <p:sp>
        <p:nvSpPr>
          <p:cNvPr id="9" name="Slide Number Placeholder 10"/>
          <p:cNvSpPr>
            <a:spLocks noGrp="1"/>
          </p:cNvSpPr>
          <p:nvPr>
            <p:ph type="sldNum" sz="quarter" idx="12"/>
          </p:nvPr>
        </p:nvSpPr>
        <p:spPr bwMode="auto">
          <a:xfrm>
            <a:off x="641773" y="6492875"/>
            <a:ext cx="3048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fld id="{FD2CE176-C7C5-42C4-916B-A90017B8846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Date Placeholder 12"/>
          <p:cNvSpPr>
            <a:spLocks noGrp="1"/>
          </p:cNvSpPr>
          <p:nvPr>
            <p:ph type="dt" sz="quarter" idx="13"/>
          </p:nvPr>
        </p:nvSpPr>
        <p:spPr bwMode="auto">
          <a:xfrm>
            <a:off x="955905" y="6492875"/>
            <a:ext cx="88392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r>
              <a:rPr lang="en-US"/>
              <a:t>May 2013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777550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8" name="Slide Number Placeholder 10"/>
          <p:cNvSpPr>
            <a:spLocks noGrp="1"/>
          </p:cNvSpPr>
          <p:nvPr>
            <p:ph type="sldNum" sz="quarter" idx="11"/>
          </p:nvPr>
        </p:nvSpPr>
        <p:spPr bwMode="auto">
          <a:xfrm>
            <a:off x="641773" y="6492875"/>
            <a:ext cx="3048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fld id="{FD2CE176-C7C5-42C4-916B-A90017B8846D}" type="slidenum">
              <a:rPr lang="en-GB" smtClean="0"/>
              <a:pPr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8111857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ck to edit Master title style</a:t>
            </a:r>
          </a:p>
        </p:txBody>
      </p:sp>
      <p:sp>
        <p:nvSpPr>
          <p:cNvPr id="3" name="Footer Placeholder 6"/>
          <p:cNvSpPr>
            <a:spLocks noGrp="1"/>
          </p:cNvSpPr>
          <p:nvPr>
            <p:ph type="ftr" sz="quarter" idx="10"/>
          </p:nvPr>
        </p:nvSpPr>
        <p:spPr bwMode="auto">
          <a:xfrm>
            <a:off x="641351" y="6356351"/>
            <a:ext cx="9144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+mn-cs"/>
              </a:defRPr>
            </a:lvl1pPr>
          </a:lstStyle>
          <a:p>
            <a:pPr>
              <a:defRPr/>
            </a:pPr>
            <a:r>
              <a:rPr lang="pt-BR"/>
              <a:t>IMS Health</a:t>
            </a:r>
          </a:p>
        </p:txBody>
      </p:sp>
      <p:sp>
        <p:nvSpPr>
          <p:cNvPr id="4" name="Slide Number Placeholder 7"/>
          <p:cNvSpPr>
            <a:spLocks noGrp="1"/>
          </p:cNvSpPr>
          <p:nvPr>
            <p:ph type="sldNum" sz="quarter" idx="11"/>
          </p:nvPr>
        </p:nvSpPr>
        <p:spPr bwMode="auto">
          <a:xfrm>
            <a:off x="641351" y="6492876"/>
            <a:ext cx="3048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+mn-cs"/>
              </a:defRPr>
            </a:lvl1pPr>
          </a:lstStyle>
          <a:p>
            <a:pPr>
              <a:defRPr/>
            </a:pPr>
            <a:fld id="{68B574B7-1D4C-4297-A5ED-E3C9267B28F7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  <p:sp>
        <p:nvSpPr>
          <p:cNvPr id="5" name="Date Placeholder 8"/>
          <p:cNvSpPr>
            <a:spLocks noGrp="1"/>
          </p:cNvSpPr>
          <p:nvPr>
            <p:ph type="dt" sz="quarter" idx="12"/>
          </p:nvPr>
        </p:nvSpPr>
        <p:spPr bwMode="auto">
          <a:xfrm>
            <a:off x="956733" y="6492876"/>
            <a:ext cx="88392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+mn-cs"/>
              </a:defRPr>
            </a:lvl1pPr>
          </a:lstStyle>
          <a:p>
            <a:pPr>
              <a:defRPr/>
            </a:pPr>
            <a:r>
              <a:rPr lang="pt-BR"/>
              <a:t>Brasil, 2013</a:t>
            </a:r>
          </a:p>
        </p:txBody>
      </p:sp>
    </p:spTree>
    <p:extLst>
      <p:ext uri="{BB962C8B-B14F-4D97-AF65-F5344CB8AC3E}">
        <p14:creationId xmlns:p14="http://schemas.microsoft.com/office/powerpoint/2010/main" val="42741019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fld id="{7CF4A6D1-6501-4708-AA5E-1A327EB52FB6}" type="slidenum">
              <a:rPr lang="pt-BR" altLang="pt-BR" smtClean="0">
                <a:solidFill>
                  <a:srgbClr val="000000"/>
                </a:solidFill>
              </a:rPr>
              <a:pPr/>
              <a:t>‹nº›</a:t>
            </a:fld>
            <a:endParaRPr lang="pt-BR" alt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03038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A3639"/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06400" y="1524000"/>
            <a:ext cx="5588000" cy="4648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97600" y="1524000"/>
            <a:ext cx="5588000" cy="4648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fld id="{BBBDC961-1D02-449C-B51C-8856A3C2DBEA}" type="slidenum">
              <a:rPr lang="pt-BR" altLang="pt-BR" smtClean="0">
                <a:solidFill>
                  <a:srgbClr val="000000"/>
                </a:solidFill>
              </a:rPr>
              <a:pPr/>
              <a:t>‹nº›</a:t>
            </a:fld>
            <a:endParaRPr lang="pt-BR" alt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43586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>
                <a:solidFill>
                  <a:srgbClr val="AA3639"/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fld id="{A8748074-85D2-407B-A42C-570299C29860}" type="slidenum">
              <a:rPr lang="pt-BR" altLang="pt-BR" smtClean="0">
                <a:solidFill>
                  <a:srgbClr val="000000"/>
                </a:solidFill>
              </a:rPr>
              <a:pPr/>
              <a:t>‹nº›</a:t>
            </a:fld>
            <a:endParaRPr lang="pt-BR" alt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1891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A3639"/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fld id="{7532D458-9C1E-4486-928A-CF2BE5AFF05F}" type="slidenum">
              <a:rPr lang="pt-BR" altLang="pt-BR" smtClean="0">
                <a:solidFill>
                  <a:srgbClr val="000000"/>
                </a:solidFill>
              </a:rPr>
              <a:pPr/>
              <a:t>‹nº›</a:t>
            </a:fld>
            <a:endParaRPr lang="pt-BR" alt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19445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fld id="{AA0C348E-6D30-4D9F-AE77-A76A4531D1D4}" type="slidenum">
              <a:rPr lang="pt-BR" altLang="pt-BR" smtClean="0">
                <a:solidFill>
                  <a:srgbClr val="000000"/>
                </a:solidFill>
              </a:rPr>
              <a:pPr/>
              <a:t>‹nº›</a:t>
            </a:fld>
            <a:endParaRPr lang="pt-BR" alt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900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fld id="{A617B50A-EC44-43EA-A12C-0331BA40C0F0}" type="slidenum">
              <a:rPr lang="pt-BR" altLang="pt-BR" smtClean="0">
                <a:solidFill>
                  <a:srgbClr val="000000"/>
                </a:solidFill>
              </a:rPr>
              <a:pPr/>
              <a:t>‹nº›</a:t>
            </a:fld>
            <a:endParaRPr lang="pt-BR" alt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83437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pt-BR" noProof="0"/>
              <a:t>Clique no ícone para adicionar uma imagem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fld id="{02DD8943-5284-48D6-95CB-521CF0D3EB7F}" type="slidenum">
              <a:rPr lang="pt-BR" altLang="pt-BR" smtClean="0">
                <a:solidFill>
                  <a:srgbClr val="000000"/>
                </a:solidFill>
              </a:rPr>
              <a:pPr/>
              <a:t>‹nº›</a:t>
            </a:fld>
            <a:endParaRPr lang="pt-BR" alt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89941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.png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5" Type="http://schemas.openxmlformats.org/officeDocument/2006/relationships/slideLayout" Target="../slideLayouts/slideLayout21.xml"/><Relationship Id="rId4" Type="http://schemas.openxmlformats.org/officeDocument/2006/relationships/slideLayout" Target="../slideLayouts/slideLayout20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chemeClr val="bg1"/>
            </a:gs>
            <a:gs pos="100000">
              <a:srgbClr val="EAEAEA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381000"/>
            <a:ext cx="8940800" cy="76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/>
              <a:t>Clique para editar o estilo do título mestr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6400" y="1524000"/>
            <a:ext cx="11379200" cy="4648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/>
              <a:t>Clique para editar os estilos do texto mestre</a:t>
            </a:r>
          </a:p>
          <a:p>
            <a:pPr lvl="1"/>
            <a:r>
              <a:rPr lang="pt-BR" altLang="pt-BR"/>
              <a:t>Segundo nível</a:t>
            </a:r>
          </a:p>
          <a:p>
            <a:pPr lvl="2"/>
            <a:r>
              <a:rPr lang="pt-BR" altLang="pt-BR"/>
              <a:t>Terceiro nível</a:t>
            </a:r>
          </a:p>
          <a:p>
            <a:pPr lvl="3"/>
            <a:r>
              <a:rPr lang="pt-BR" altLang="pt-BR"/>
              <a:t>Quarto nível</a:t>
            </a:r>
          </a:p>
          <a:p>
            <a:pPr lvl="4"/>
            <a:r>
              <a:rPr lang="pt-BR" altLang="pt-BR"/>
              <a:t>Quinto ní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448800" y="6477000"/>
            <a:ext cx="2540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/>
            </a:lvl1pPr>
          </a:lstStyle>
          <a:p>
            <a:fld id="{8B4FCE83-C4CB-473C-9EC3-C4A2D40D29F3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119316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CC3300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CC3300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CC3300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CC3300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CC3300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CC3300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CC3300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CC3300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CC3300"/>
          </a:solidFill>
          <a:latin typeface="Arial" charset="0"/>
          <a:cs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607485" y="0"/>
            <a:ext cx="10968567" cy="818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607485" y="1598613"/>
            <a:ext cx="10968567" cy="438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AF05B30F-CC82-4C9D-B7A9-E6443F1CB5C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 t="16815"/>
          <a:stretch>
            <a:fillRect/>
          </a:stretch>
        </p:blipFill>
        <p:spPr bwMode="auto">
          <a:xfrm>
            <a:off x="10008259" y="366014"/>
            <a:ext cx="1757582" cy="589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3228949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</p:sldLayoutIdLst>
  <p:transition/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2868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1" fontAlgn="base" hangingPunct="1">
        <a:spcBef>
          <a:spcPct val="50000"/>
        </a:spcBef>
        <a:spcAft>
          <a:spcPct val="0"/>
        </a:spcAft>
        <a:buClr>
          <a:srgbClr val="69C0C9"/>
        </a:buClr>
        <a:buFont typeface="Verdana" pitchFamily="34" charset="0"/>
        <a:buChar char="•"/>
        <a:defRPr sz="2000">
          <a:solidFill>
            <a:srgbClr val="002868"/>
          </a:solidFill>
          <a:latin typeface="+mn-lt"/>
          <a:ea typeface="+mn-ea"/>
          <a:cs typeface="+mn-cs"/>
        </a:defRPr>
      </a:lvl1pPr>
      <a:lvl2pPr marL="571500" indent="-228600" algn="l" rtl="0" eaLnBrk="1" fontAlgn="base" hangingPunct="1">
        <a:spcBef>
          <a:spcPct val="40000"/>
        </a:spcBef>
        <a:spcAft>
          <a:spcPct val="0"/>
        </a:spcAft>
        <a:buClr>
          <a:srgbClr val="69C0C9"/>
        </a:buClr>
        <a:buFont typeface="Verdana" pitchFamily="34" charset="0"/>
        <a:buChar char="−"/>
        <a:defRPr sz="1600">
          <a:solidFill>
            <a:srgbClr val="002868"/>
          </a:solidFill>
          <a:latin typeface="+mn-lt"/>
        </a:defRPr>
      </a:lvl2pPr>
      <a:lvl3pPr marL="914400" indent="-228600" algn="l" rtl="0" eaLnBrk="1" fontAlgn="base" hangingPunct="1">
        <a:spcBef>
          <a:spcPct val="30000"/>
        </a:spcBef>
        <a:spcAft>
          <a:spcPct val="0"/>
        </a:spcAft>
        <a:buClr>
          <a:srgbClr val="69C0C9"/>
        </a:buClr>
        <a:buFont typeface="Verdana" pitchFamily="34" charset="0"/>
        <a:buChar char="•"/>
        <a:defRPr sz="1400">
          <a:solidFill>
            <a:srgbClr val="002868"/>
          </a:solidFill>
          <a:latin typeface="+mn-lt"/>
        </a:defRPr>
      </a:lvl3pPr>
      <a:lvl4pPr marL="1257300" indent="-228600" algn="l" rtl="0" eaLnBrk="1" fontAlgn="base" hangingPunct="1">
        <a:spcBef>
          <a:spcPct val="30000"/>
        </a:spcBef>
        <a:spcAft>
          <a:spcPct val="0"/>
        </a:spcAft>
        <a:buClr>
          <a:srgbClr val="69C0C9"/>
        </a:buClr>
        <a:buFont typeface="Verdana" pitchFamily="34" charset="0"/>
        <a:buChar char="–"/>
        <a:defRPr sz="1200">
          <a:solidFill>
            <a:srgbClr val="002868"/>
          </a:solidFill>
          <a:latin typeface="+mn-lt"/>
        </a:defRPr>
      </a:lvl4pPr>
      <a:lvl5pPr marL="1600200" indent="-228600" algn="l" rtl="0" eaLnBrk="1" fontAlgn="base" hangingPunct="1">
        <a:spcBef>
          <a:spcPct val="30000"/>
        </a:spcBef>
        <a:spcAft>
          <a:spcPct val="0"/>
        </a:spcAft>
        <a:buClr>
          <a:srgbClr val="69C0C9"/>
        </a:buClr>
        <a:buFont typeface="Verdana" pitchFamily="34" charset="0"/>
        <a:buChar char="◦"/>
        <a:defRPr sz="1200">
          <a:solidFill>
            <a:srgbClr val="002868"/>
          </a:solidFill>
          <a:latin typeface="+mn-lt"/>
        </a:defRPr>
      </a:lvl5pPr>
      <a:lvl6pPr marL="20574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6pPr>
      <a:lvl7pPr marL="25146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7pPr>
      <a:lvl8pPr marL="29718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8pPr>
      <a:lvl9pPr marL="34290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11" name="Object 87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94733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1111" name="Object 87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4733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 14"/>
          <p:cNvSpPr/>
          <p:nvPr/>
        </p:nvSpPr>
        <p:spPr>
          <a:xfrm>
            <a:off x="1" y="881064"/>
            <a:ext cx="11908367" cy="5976937"/>
          </a:xfrm>
          <a:custGeom>
            <a:avLst/>
            <a:gdLst>
              <a:gd name="connsiteX0" fmla="*/ 0 w 10439400"/>
              <a:gd name="connsiteY0" fmla="*/ 916313 h 7239000"/>
              <a:gd name="connsiteX1" fmla="*/ 268383 w 10439400"/>
              <a:gd name="connsiteY1" fmla="*/ 268382 h 7239000"/>
              <a:gd name="connsiteX2" fmla="*/ 916315 w 10439400"/>
              <a:gd name="connsiteY2" fmla="*/ 1 h 7239000"/>
              <a:gd name="connsiteX3" fmla="*/ 9523087 w 10439400"/>
              <a:gd name="connsiteY3" fmla="*/ 0 h 7239000"/>
              <a:gd name="connsiteX4" fmla="*/ 10171018 w 10439400"/>
              <a:gd name="connsiteY4" fmla="*/ 268383 h 7239000"/>
              <a:gd name="connsiteX5" fmla="*/ 10439399 w 10439400"/>
              <a:gd name="connsiteY5" fmla="*/ 916315 h 7239000"/>
              <a:gd name="connsiteX6" fmla="*/ 10439400 w 10439400"/>
              <a:gd name="connsiteY6" fmla="*/ 6322687 h 7239000"/>
              <a:gd name="connsiteX7" fmla="*/ 10171018 w 10439400"/>
              <a:gd name="connsiteY7" fmla="*/ 6970618 h 7239000"/>
              <a:gd name="connsiteX8" fmla="*/ 9523087 w 10439400"/>
              <a:gd name="connsiteY8" fmla="*/ 7239000 h 7239000"/>
              <a:gd name="connsiteX9" fmla="*/ 916313 w 10439400"/>
              <a:gd name="connsiteY9" fmla="*/ 7239000 h 7239000"/>
              <a:gd name="connsiteX10" fmla="*/ 268382 w 10439400"/>
              <a:gd name="connsiteY10" fmla="*/ 6970618 h 7239000"/>
              <a:gd name="connsiteX11" fmla="*/ 1 w 10439400"/>
              <a:gd name="connsiteY11" fmla="*/ 6322686 h 7239000"/>
              <a:gd name="connsiteX12" fmla="*/ 0 w 10439400"/>
              <a:gd name="connsiteY12" fmla="*/ 916313 h 7239000"/>
              <a:gd name="connsiteX0" fmla="*/ 0 w 10439400"/>
              <a:gd name="connsiteY0" fmla="*/ 916313 h 7239000"/>
              <a:gd name="connsiteX1" fmla="*/ 268383 w 10439400"/>
              <a:gd name="connsiteY1" fmla="*/ 268382 h 7239000"/>
              <a:gd name="connsiteX2" fmla="*/ 916315 w 10439400"/>
              <a:gd name="connsiteY2" fmla="*/ 1 h 7239000"/>
              <a:gd name="connsiteX3" fmla="*/ 9523087 w 10439400"/>
              <a:gd name="connsiteY3" fmla="*/ 0 h 7239000"/>
              <a:gd name="connsiteX4" fmla="*/ 10171018 w 10439400"/>
              <a:gd name="connsiteY4" fmla="*/ 268383 h 7239000"/>
              <a:gd name="connsiteX5" fmla="*/ 10439399 w 10439400"/>
              <a:gd name="connsiteY5" fmla="*/ 916315 h 7239000"/>
              <a:gd name="connsiteX6" fmla="*/ 10439400 w 10439400"/>
              <a:gd name="connsiteY6" fmla="*/ 6322687 h 7239000"/>
              <a:gd name="connsiteX7" fmla="*/ 10171018 w 10439400"/>
              <a:gd name="connsiteY7" fmla="*/ 6970618 h 7239000"/>
              <a:gd name="connsiteX8" fmla="*/ 9523087 w 10439400"/>
              <a:gd name="connsiteY8" fmla="*/ 7239000 h 7239000"/>
              <a:gd name="connsiteX9" fmla="*/ 916313 w 10439400"/>
              <a:gd name="connsiteY9" fmla="*/ 7239000 h 7239000"/>
              <a:gd name="connsiteX10" fmla="*/ 268382 w 10439400"/>
              <a:gd name="connsiteY10" fmla="*/ 6970618 h 7239000"/>
              <a:gd name="connsiteX11" fmla="*/ 1 w 10439400"/>
              <a:gd name="connsiteY11" fmla="*/ 6322686 h 7239000"/>
              <a:gd name="connsiteX12" fmla="*/ 91440 w 10439400"/>
              <a:gd name="connsiteY12" fmla="*/ 1007753 h 7239000"/>
              <a:gd name="connsiteX0" fmla="*/ 0 w 10439400"/>
              <a:gd name="connsiteY0" fmla="*/ 916313 h 7239000"/>
              <a:gd name="connsiteX1" fmla="*/ 268383 w 10439400"/>
              <a:gd name="connsiteY1" fmla="*/ 268382 h 7239000"/>
              <a:gd name="connsiteX2" fmla="*/ 916315 w 10439400"/>
              <a:gd name="connsiteY2" fmla="*/ 1 h 7239000"/>
              <a:gd name="connsiteX3" fmla="*/ 9523087 w 10439400"/>
              <a:gd name="connsiteY3" fmla="*/ 0 h 7239000"/>
              <a:gd name="connsiteX4" fmla="*/ 10171018 w 10439400"/>
              <a:gd name="connsiteY4" fmla="*/ 268383 h 7239000"/>
              <a:gd name="connsiteX5" fmla="*/ 10439399 w 10439400"/>
              <a:gd name="connsiteY5" fmla="*/ 916315 h 7239000"/>
              <a:gd name="connsiteX6" fmla="*/ 10439400 w 10439400"/>
              <a:gd name="connsiteY6" fmla="*/ 6322687 h 7239000"/>
              <a:gd name="connsiteX7" fmla="*/ 10171018 w 10439400"/>
              <a:gd name="connsiteY7" fmla="*/ 6970618 h 7239000"/>
              <a:gd name="connsiteX8" fmla="*/ 9523087 w 10439400"/>
              <a:gd name="connsiteY8" fmla="*/ 7239000 h 7239000"/>
              <a:gd name="connsiteX9" fmla="*/ 916313 w 10439400"/>
              <a:gd name="connsiteY9" fmla="*/ 7239000 h 7239000"/>
              <a:gd name="connsiteX10" fmla="*/ 268382 w 10439400"/>
              <a:gd name="connsiteY10" fmla="*/ 6970618 h 7239000"/>
              <a:gd name="connsiteX11" fmla="*/ 1 w 10439400"/>
              <a:gd name="connsiteY11" fmla="*/ 6322686 h 7239000"/>
              <a:gd name="connsiteX0" fmla="*/ 0 w 10439400"/>
              <a:gd name="connsiteY0" fmla="*/ 916313 h 7239000"/>
              <a:gd name="connsiteX1" fmla="*/ 268383 w 10439400"/>
              <a:gd name="connsiteY1" fmla="*/ 268382 h 7239000"/>
              <a:gd name="connsiteX2" fmla="*/ 916315 w 10439400"/>
              <a:gd name="connsiteY2" fmla="*/ 1 h 7239000"/>
              <a:gd name="connsiteX3" fmla="*/ 9523087 w 10439400"/>
              <a:gd name="connsiteY3" fmla="*/ 0 h 7239000"/>
              <a:gd name="connsiteX4" fmla="*/ 10171018 w 10439400"/>
              <a:gd name="connsiteY4" fmla="*/ 268383 h 7239000"/>
              <a:gd name="connsiteX5" fmla="*/ 10439399 w 10439400"/>
              <a:gd name="connsiteY5" fmla="*/ 916315 h 7239000"/>
              <a:gd name="connsiteX6" fmla="*/ 10439400 w 10439400"/>
              <a:gd name="connsiteY6" fmla="*/ 6322687 h 7239000"/>
              <a:gd name="connsiteX7" fmla="*/ 10171018 w 10439400"/>
              <a:gd name="connsiteY7" fmla="*/ 6970618 h 7239000"/>
              <a:gd name="connsiteX8" fmla="*/ 9523087 w 10439400"/>
              <a:gd name="connsiteY8" fmla="*/ 7239000 h 7239000"/>
              <a:gd name="connsiteX9" fmla="*/ 916313 w 10439400"/>
              <a:gd name="connsiteY9" fmla="*/ 7239000 h 7239000"/>
              <a:gd name="connsiteX10" fmla="*/ 268382 w 10439400"/>
              <a:gd name="connsiteY10" fmla="*/ 6970618 h 7239000"/>
              <a:gd name="connsiteX0" fmla="*/ 0 w 10439400"/>
              <a:gd name="connsiteY0" fmla="*/ 916313 h 7239000"/>
              <a:gd name="connsiteX1" fmla="*/ 268383 w 10439400"/>
              <a:gd name="connsiteY1" fmla="*/ 268382 h 7239000"/>
              <a:gd name="connsiteX2" fmla="*/ 916315 w 10439400"/>
              <a:gd name="connsiteY2" fmla="*/ 1 h 7239000"/>
              <a:gd name="connsiteX3" fmla="*/ 9523087 w 10439400"/>
              <a:gd name="connsiteY3" fmla="*/ 0 h 7239000"/>
              <a:gd name="connsiteX4" fmla="*/ 10171018 w 10439400"/>
              <a:gd name="connsiteY4" fmla="*/ 268383 h 7239000"/>
              <a:gd name="connsiteX5" fmla="*/ 10439399 w 10439400"/>
              <a:gd name="connsiteY5" fmla="*/ 916315 h 7239000"/>
              <a:gd name="connsiteX6" fmla="*/ 10439400 w 10439400"/>
              <a:gd name="connsiteY6" fmla="*/ 6322687 h 7239000"/>
              <a:gd name="connsiteX7" fmla="*/ 10171018 w 10439400"/>
              <a:gd name="connsiteY7" fmla="*/ 6970618 h 7239000"/>
              <a:gd name="connsiteX8" fmla="*/ 9523087 w 10439400"/>
              <a:gd name="connsiteY8" fmla="*/ 7239000 h 7239000"/>
              <a:gd name="connsiteX9" fmla="*/ 916313 w 10439400"/>
              <a:gd name="connsiteY9" fmla="*/ 7239000 h 7239000"/>
              <a:gd name="connsiteX0" fmla="*/ 0 w 10171017"/>
              <a:gd name="connsiteY0" fmla="*/ 268382 h 7239000"/>
              <a:gd name="connsiteX1" fmla="*/ 647932 w 10171017"/>
              <a:gd name="connsiteY1" fmla="*/ 1 h 7239000"/>
              <a:gd name="connsiteX2" fmla="*/ 9254704 w 10171017"/>
              <a:gd name="connsiteY2" fmla="*/ 0 h 7239000"/>
              <a:gd name="connsiteX3" fmla="*/ 9902635 w 10171017"/>
              <a:gd name="connsiteY3" fmla="*/ 268383 h 7239000"/>
              <a:gd name="connsiteX4" fmla="*/ 10171016 w 10171017"/>
              <a:gd name="connsiteY4" fmla="*/ 916315 h 7239000"/>
              <a:gd name="connsiteX5" fmla="*/ 10171017 w 10171017"/>
              <a:gd name="connsiteY5" fmla="*/ 6322687 h 7239000"/>
              <a:gd name="connsiteX6" fmla="*/ 9902635 w 10171017"/>
              <a:gd name="connsiteY6" fmla="*/ 6970618 h 7239000"/>
              <a:gd name="connsiteX7" fmla="*/ 9254704 w 10171017"/>
              <a:gd name="connsiteY7" fmla="*/ 7239000 h 7239000"/>
              <a:gd name="connsiteX8" fmla="*/ 647930 w 10171017"/>
              <a:gd name="connsiteY8" fmla="*/ 7239000 h 7239000"/>
              <a:gd name="connsiteX0" fmla="*/ 2 w 9523087"/>
              <a:gd name="connsiteY0" fmla="*/ 1 h 7239000"/>
              <a:gd name="connsiteX1" fmla="*/ 8606774 w 9523087"/>
              <a:gd name="connsiteY1" fmla="*/ 0 h 7239000"/>
              <a:gd name="connsiteX2" fmla="*/ 9254705 w 9523087"/>
              <a:gd name="connsiteY2" fmla="*/ 268383 h 7239000"/>
              <a:gd name="connsiteX3" fmla="*/ 9523086 w 9523087"/>
              <a:gd name="connsiteY3" fmla="*/ 916315 h 7239000"/>
              <a:gd name="connsiteX4" fmla="*/ 9523087 w 9523087"/>
              <a:gd name="connsiteY4" fmla="*/ 6322687 h 7239000"/>
              <a:gd name="connsiteX5" fmla="*/ 9254705 w 9523087"/>
              <a:gd name="connsiteY5" fmla="*/ 6970618 h 7239000"/>
              <a:gd name="connsiteX6" fmla="*/ 8606774 w 9523087"/>
              <a:gd name="connsiteY6" fmla="*/ 7239000 h 7239000"/>
              <a:gd name="connsiteX7" fmla="*/ 0 w 9523087"/>
              <a:gd name="connsiteY7" fmla="*/ 7239000 h 7239000"/>
              <a:gd name="connsiteX0" fmla="*/ 0 w 9523085"/>
              <a:gd name="connsiteY0" fmla="*/ 1 h 7239000"/>
              <a:gd name="connsiteX1" fmla="*/ 8606772 w 9523085"/>
              <a:gd name="connsiteY1" fmla="*/ 0 h 7239000"/>
              <a:gd name="connsiteX2" fmla="*/ 9254703 w 9523085"/>
              <a:gd name="connsiteY2" fmla="*/ 268383 h 7239000"/>
              <a:gd name="connsiteX3" fmla="*/ 9523084 w 9523085"/>
              <a:gd name="connsiteY3" fmla="*/ 916315 h 7239000"/>
              <a:gd name="connsiteX4" fmla="*/ 9523085 w 9523085"/>
              <a:gd name="connsiteY4" fmla="*/ 6322687 h 7239000"/>
              <a:gd name="connsiteX5" fmla="*/ 9254703 w 9523085"/>
              <a:gd name="connsiteY5" fmla="*/ 6970618 h 7239000"/>
              <a:gd name="connsiteX6" fmla="*/ 8606772 w 9523085"/>
              <a:gd name="connsiteY6" fmla="*/ 7239000 h 7239000"/>
              <a:gd name="connsiteX0" fmla="*/ 0 w 9523085"/>
              <a:gd name="connsiteY0" fmla="*/ 1 h 6970618"/>
              <a:gd name="connsiteX1" fmla="*/ 8606772 w 9523085"/>
              <a:gd name="connsiteY1" fmla="*/ 0 h 6970618"/>
              <a:gd name="connsiteX2" fmla="*/ 9254703 w 9523085"/>
              <a:gd name="connsiteY2" fmla="*/ 268383 h 6970618"/>
              <a:gd name="connsiteX3" fmla="*/ 9523084 w 9523085"/>
              <a:gd name="connsiteY3" fmla="*/ 916315 h 6970618"/>
              <a:gd name="connsiteX4" fmla="*/ 9523085 w 9523085"/>
              <a:gd name="connsiteY4" fmla="*/ 6322687 h 6970618"/>
              <a:gd name="connsiteX5" fmla="*/ 9254703 w 9523085"/>
              <a:gd name="connsiteY5" fmla="*/ 6970618 h 6970618"/>
              <a:gd name="connsiteX0" fmla="*/ 0 w 9523085"/>
              <a:gd name="connsiteY0" fmla="*/ 1 h 6322687"/>
              <a:gd name="connsiteX1" fmla="*/ 8606772 w 9523085"/>
              <a:gd name="connsiteY1" fmla="*/ 0 h 6322687"/>
              <a:gd name="connsiteX2" fmla="*/ 9254703 w 9523085"/>
              <a:gd name="connsiteY2" fmla="*/ 268383 h 6322687"/>
              <a:gd name="connsiteX3" fmla="*/ 9523084 w 9523085"/>
              <a:gd name="connsiteY3" fmla="*/ 916315 h 6322687"/>
              <a:gd name="connsiteX4" fmla="*/ 9523085 w 9523085"/>
              <a:gd name="connsiteY4" fmla="*/ 6322687 h 6322687"/>
              <a:gd name="connsiteX0" fmla="*/ 152726 w 9675811"/>
              <a:gd name="connsiteY0" fmla="*/ 1 h 6322687"/>
              <a:gd name="connsiteX1" fmla="*/ 0 w 9675811"/>
              <a:gd name="connsiteY1" fmla="*/ 0 h 6322687"/>
              <a:gd name="connsiteX2" fmla="*/ 8759498 w 9675811"/>
              <a:gd name="connsiteY2" fmla="*/ 0 h 6322687"/>
              <a:gd name="connsiteX3" fmla="*/ 9407429 w 9675811"/>
              <a:gd name="connsiteY3" fmla="*/ 268383 h 6322687"/>
              <a:gd name="connsiteX4" fmla="*/ 9675810 w 9675811"/>
              <a:gd name="connsiteY4" fmla="*/ 916315 h 6322687"/>
              <a:gd name="connsiteX5" fmla="*/ 9675811 w 9675811"/>
              <a:gd name="connsiteY5" fmla="*/ 6322687 h 6322687"/>
              <a:gd name="connsiteX0" fmla="*/ 152726 w 9675811"/>
              <a:gd name="connsiteY0" fmla="*/ 1 h 5976938"/>
              <a:gd name="connsiteX1" fmla="*/ 0 w 9675811"/>
              <a:gd name="connsiteY1" fmla="*/ 0 h 5976938"/>
              <a:gd name="connsiteX2" fmla="*/ 8759498 w 9675811"/>
              <a:gd name="connsiteY2" fmla="*/ 0 h 5976938"/>
              <a:gd name="connsiteX3" fmla="*/ 9407429 w 9675811"/>
              <a:gd name="connsiteY3" fmla="*/ 268383 h 5976938"/>
              <a:gd name="connsiteX4" fmla="*/ 9675810 w 9675811"/>
              <a:gd name="connsiteY4" fmla="*/ 916315 h 5976938"/>
              <a:gd name="connsiteX5" fmla="*/ 9675811 w 9675811"/>
              <a:gd name="connsiteY5" fmla="*/ 5976938 h 5976938"/>
              <a:gd name="connsiteX0" fmla="*/ 0 w 9675811"/>
              <a:gd name="connsiteY0" fmla="*/ 0 h 5976938"/>
              <a:gd name="connsiteX1" fmla="*/ 8759498 w 9675811"/>
              <a:gd name="connsiteY1" fmla="*/ 0 h 5976938"/>
              <a:gd name="connsiteX2" fmla="*/ 9407429 w 9675811"/>
              <a:gd name="connsiteY2" fmla="*/ 268383 h 5976938"/>
              <a:gd name="connsiteX3" fmla="*/ 9675810 w 9675811"/>
              <a:gd name="connsiteY3" fmla="*/ 916315 h 5976938"/>
              <a:gd name="connsiteX4" fmla="*/ 9675811 w 9675811"/>
              <a:gd name="connsiteY4" fmla="*/ 5976938 h 5976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675811" h="5976938">
                <a:moveTo>
                  <a:pt x="0" y="0"/>
                </a:moveTo>
                <a:lnTo>
                  <a:pt x="8759498" y="0"/>
                </a:lnTo>
                <a:cubicBezTo>
                  <a:pt x="9002519" y="0"/>
                  <a:pt x="9235587" y="96540"/>
                  <a:pt x="9407429" y="268383"/>
                </a:cubicBezTo>
                <a:cubicBezTo>
                  <a:pt x="9579271" y="440225"/>
                  <a:pt x="9675810" y="673293"/>
                  <a:pt x="9675810" y="916315"/>
                </a:cubicBezTo>
                <a:cubicBezTo>
                  <a:pt x="9675810" y="2718439"/>
                  <a:pt x="9675811" y="4174814"/>
                  <a:pt x="9675811" y="5976938"/>
                </a:cubicBezTo>
              </a:path>
            </a:pathLst>
          </a:custGeom>
          <a:noFill/>
          <a:ln w="25400" cap="flat" cmpd="sng" algn="ctr">
            <a:solidFill>
              <a:schemeClr val="accent2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1" name="Rectangle 6"/>
          <p:cNvSpPr txBox="1">
            <a:spLocks noChangeArrowheads="1"/>
          </p:cNvSpPr>
          <p:nvPr/>
        </p:nvSpPr>
        <p:spPr bwMode="auto">
          <a:xfrm>
            <a:off x="607485" y="6597650"/>
            <a:ext cx="317500" cy="2159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lvl1pPr>
              <a:defRPr sz="8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fld id="{81508BA8-E1AF-4E41-B23B-05FA1EE12B65}" type="slidenum">
              <a:rPr lang="en-US" sz="800" smtClean="0">
                <a:solidFill>
                  <a:srgbClr val="000000"/>
                </a:solidFill>
                <a:cs typeface="Arial"/>
              </a:rPr>
              <a:pPr>
                <a:defRPr/>
              </a:pPr>
              <a:t>‹nº›</a:t>
            </a:fld>
            <a:endParaRPr lang="en-US" sz="8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116" name="Text Placeholder 27"/>
          <p:cNvSpPr>
            <a:spLocks noGrp="1"/>
          </p:cNvSpPr>
          <p:nvPr>
            <p:ph type="body" idx="1"/>
          </p:nvPr>
        </p:nvSpPr>
        <p:spPr bwMode="auto">
          <a:xfrm>
            <a:off x="563034" y="2014538"/>
            <a:ext cx="11065933" cy="408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17" name="Title Placeholder 12"/>
          <p:cNvSpPr>
            <a:spLocks noGrp="1"/>
          </p:cNvSpPr>
          <p:nvPr>
            <p:ph type="title"/>
          </p:nvPr>
        </p:nvSpPr>
        <p:spPr bwMode="auto">
          <a:xfrm>
            <a:off x="1930400" y="228600"/>
            <a:ext cx="90424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324601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</p:sldLayoutIdLst>
  <p:hf sldNum="0"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en-US" sz="2400" b="1" dirty="0">
          <a:solidFill>
            <a:srgbClr val="0033AB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033AB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033AB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033AB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033AB"/>
          </a:solidFill>
          <a:latin typeface="Arial" charset="0"/>
        </a:defRPr>
      </a:lvl5pPr>
      <a:lvl6pPr marL="4572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033AB"/>
          </a:solidFill>
          <a:latin typeface="Arial" charset="0"/>
        </a:defRPr>
      </a:lvl6pPr>
      <a:lvl7pPr marL="9144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033AB"/>
          </a:solidFill>
          <a:latin typeface="Arial" charset="0"/>
        </a:defRPr>
      </a:lvl7pPr>
      <a:lvl8pPr marL="13716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033AB"/>
          </a:solidFill>
          <a:latin typeface="Arial" charset="0"/>
        </a:defRPr>
      </a:lvl8pPr>
      <a:lvl9pPr marL="1828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033AB"/>
          </a:solidFill>
          <a:latin typeface="Arial" charset="0"/>
        </a:defRPr>
      </a:lvl9pPr>
    </p:titleStyle>
    <p:bodyStyle>
      <a:lvl1pPr algn="l" rtl="0" fontAlgn="base">
        <a:spcBef>
          <a:spcPts val="388"/>
        </a:spcBef>
        <a:spcAft>
          <a:spcPct val="0"/>
        </a:spcAft>
        <a:buClr>
          <a:schemeClr val="tx2"/>
        </a:buClr>
        <a:buSzPts val="1600"/>
        <a:defRPr lang="en-US" sz="1600" b="1">
          <a:solidFill>
            <a:srgbClr val="000000"/>
          </a:solidFill>
          <a:latin typeface="+mj-lt"/>
          <a:ea typeface="+mj-ea"/>
          <a:cs typeface="Arial"/>
        </a:defRPr>
      </a:lvl1pPr>
      <a:lvl2pPr marL="357188" indent="-176213" algn="l" rtl="0" fontAlgn="base">
        <a:spcBef>
          <a:spcPts val="388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600">
          <a:solidFill>
            <a:srgbClr val="000000"/>
          </a:solidFill>
          <a:latin typeface="+mj-lt"/>
          <a:ea typeface="+mj-ea"/>
          <a:cs typeface="Arial"/>
        </a:defRPr>
      </a:lvl2pPr>
      <a:lvl3pPr marL="628650" indent="-180975" algn="l" rtl="0" fontAlgn="base">
        <a:spcBef>
          <a:spcPts val="388"/>
        </a:spcBef>
        <a:spcAft>
          <a:spcPct val="0"/>
        </a:spcAft>
        <a:buClr>
          <a:schemeClr val="tx2"/>
        </a:buClr>
        <a:buFont typeface="Arial" charset="0"/>
        <a:buChar char="–"/>
        <a:defRPr lang="en-US" sz="1600">
          <a:solidFill>
            <a:srgbClr val="000000"/>
          </a:solidFill>
          <a:latin typeface="+mj-lt"/>
          <a:ea typeface="+mj-ea"/>
          <a:cs typeface="Arial"/>
        </a:defRPr>
      </a:lvl3pPr>
      <a:lvl4pPr marL="895350" indent="-176213" algn="l" rtl="0" fontAlgn="base">
        <a:spcBef>
          <a:spcPts val="388"/>
        </a:spcBef>
        <a:spcAft>
          <a:spcPct val="0"/>
        </a:spcAft>
        <a:buClr>
          <a:schemeClr val="tx2"/>
        </a:buClr>
        <a:buFont typeface="Arial" charset="0"/>
        <a:buChar char="–"/>
        <a:defRPr lang="en-US" sz="1600">
          <a:solidFill>
            <a:srgbClr val="000000"/>
          </a:solidFill>
          <a:latin typeface="+mj-lt"/>
          <a:ea typeface="+mj-ea"/>
          <a:cs typeface="Arial"/>
        </a:defRPr>
      </a:lvl4pPr>
      <a:lvl5pPr marL="1166813" indent="-180975" algn="l" rtl="0" fontAlgn="base">
        <a:spcBef>
          <a:spcPts val="388"/>
        </a:spcBef>
        <a:spcAft>
          <a:spcPct val="0"/>
        </a:spcAft>
        <a:buClr>
          <a:schemeClr val="tx2"/>
        </a:buClr>
        <a:buFont typeface="Arial" charset="0"/>
        <a:buChar char="–"/>
        <a:defRPr lang="en-US" sz="1600">
          <a:solidFill>
            <a:srgbClr val="000000"/>
          </a:solidFill>
          <a:latin typeface="+mj-lt"/>
          <a:ea typeface="+mj-ea"/>
          <a:cs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607485" y="0"/>
            <a:ext cx="10968567" cy="818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607485" y="1598613"/>
            <a:ext cx="10968567" cy="438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330393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40" r:id="rId2"/>
    <p:sldLayoutId id="2147483841" r:id="rId3"/>
    <p:sldLayoutId id="2147483842" r:id="rId4"/>
    <p:sldLayoutId id="2147483843" r:id="rId5"/>
    <p:sldLayoutId id="2147483845" r:id="rId6"/>
    <p:sldLayoutId id="2147483846" r:id="rId7"/>
  </p:sldLayoutIdLst>
  <p:transition/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2868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1" fontAlgn="base" hangingPunct="1">
        <a:spcBef>
          <a:spcPct val="50000"/>
        </a:spcBef>
        <a:spcAft>
          <a:spcPct val="0"/>
        </a:spcAft>
        <a:buClr>
          <a:srgbClr val="69C0C9"/>
        </a:buClr>
        <a:buFont typeface="Verdana" pitchFamily="34" charset="0"/>
        <a:buChar char="•"/>
        <a:defRPr sz="2000">
          <a:solidFill>
            <a:srgbClr val="002868"/>
          </a:solidFill>
          <a:latin typeface="+mn-lt"/>
          <a:ea typeface="+mn-ea"/>
          <a:cs typeface="+mn-cs"/>
        </a:defRPr>
      </a:lvl1pPr>
      <a:lvl2pPr marL="571500" indent="-228600" algn="l" rtl="0" eaLnBrk="1" fontAlgn="base" hangingPunct="1">
        <a:spcBef>
          <a:spcPct val="40000"/>
        </a:spcBef>
        <a:spcAft>
          <a:spcPct val="0"/>
        </a:spcAft>
        <a:buClr>
          <a:srgbClr val="69C0C9"/>
        </a:buClr>
        <a:buFont typeface="Verdana" pitchFamily="34" charset="0"/>
        <a:buChar char="−"/>
        <a:defRPr sz="1600">
          <a:solidFill>
            <a:srgbClr val="002868"/>
          </a:solidFill>
          <a:latin typeface="+mn-lt"/>
        </a:defRPr>
      </a:lvl2pPr>
      <a:lvl3pPr marL="914400" indent="-228600" algn="l" rtl="0" eaLnBrk="1" fontAlgn="base" hangingPunct="1">
        <a:spcBef>
          <a:spcPct val="30000"/>
        </a:spcBef>
        <a:spcAft>
          <a:spcPct val="0"/>
        </a:spcAft>
        <a:buClr>
          <a:srgbClr val="69C0C9"/>
        </a:buClr>
        <a:buFont typeface="Verdana" pitchFamily="34" charset="0"/>
        <a:buChar char="•"/>
        <a:defRPr sz="1400">
          <a:solidFill>
            <a:srgbClr val="002868"/>
          </a:solidFill>
          <a:latin typeface="+mn-lt"/>
        </a:defRPr>
      </a:lvl3pPr>
      <a:lvl4pPr marL="1257300" indent="-228600" algn="l" rtl="0" eaLnBrk="1" fontAlgn="base" hangingPunct="1">
        <a:spcBef>
          <a:spcPct val="30000"/>
        </a:spcBef>
        <a:spcAft>
          <a:spcPct val="0"/>
        </a:spcAft>
        <a:buClr>
          <a:srgbClr val="69C0C9"/>
        </a:buClr>
        <a:buFont typeface="Verdana" pitchFamily="34" charset="0"/>
        <a:buChar char="–"/>
        <a:defRPr sz="1200">
          <a:solidFill>
            <a:srgbClr val="002868"/>
          </a:solidFill>
          <a:latin typeface="+mn-lt"/>
        </a:defRPr>
      </a:lvl4pPr>
      <a:lvl5pPr marL="1600200" indent="-228600" algn="l" rtl="0" eaLnBrk="1" fontAlgn="base" hangingPunct="1">
        <a:spcBef>
          <a:spcPct val="30000"/>
        </a:spcBef>
        <a:spcAft>
          <a:spcPct val="0"/>
        </a:spcAft>
        <a:buClr>
          <a:srgbClr val="69C0C9"/>
        </a:buClr>
        <a:buFont typeface="Verdana" pitchFamily="34" charset="0"/>
        <a:buChar char="◦"/>
        <a:defRPr sz="1200">
          <a:solidFill>
            <a:srgbClr val="002868"/>
          </a:solidFill>
          <a:latin typeface="+mn-lt"/>
        </a:defRPr>
      </a:lvl5pPr>
      <a:lvl6pPr marL="20574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6pPr>
      <a:lvl7pPr marL="25146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7pPr>
      <a:lvl8pPr marL="29718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8pPr>
      <a:lvl9pPr marL="34290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607485" y="0"/>
            <a:ext cx="10968567" cy="818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607485" y="1598613"/>
            <a:ext cx="10968567" cy="438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852385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3" r:id="rId1"/>
    <p:sldLayoutId id="2147483864" r:id="rId2"/>
    <p:sldLayoutId id="2147483865" r:id="rId3"/>
    <p:sldLayoutId id="2147483866" r:id="rId4"/>
    <p:sldLayoutId id="2147483867" r:id="rId5"/>
  </p:sldLayoutIdLst>
  <p:transition/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2868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1" fontAlgn="base" hangingPunct="1">
        <a:spcBef>
          <a:spcPct val="50000"/>
        </a:spcBef>
        <a:spcAft>
          <a:spcPct val="0"/>
        </a:spcAft>
        <a:buClr>
          <a:srgbClr val="69C0C9"/>
        </a:buClr>
        <a:buFont typeface="Verdana" pitchFamily="34" charset="0"/>
        <a:buChar char="•"/>
        <a:defRPr sz="2000">
          <a:solidFill>
            <a:srgbClr val="002868"/>
          </a:solidFill>
          <a:latin typeface="+mn-lt"/>
          <a:ea typeface="+mn-ea"/>
          <a:cs typeface="+mn-cs"/>
        </a:defRPr>
      </a:lvl1pPr>
      <a:lvl2pPr marL="571500" indent="-228600" algn="l" rtl="0" eaLnBrk="1" fontAlgn="base" hangingPunct="1">
        <a:spcBef>
          <a:spcPct val="40000"/>
        </a:spcBef>
        <a:spcAft>
          <a:spcPct val="0"/>
        </a:spcAft>
        <a:buClr>
          <a:srgbClr val="69C0C9"/>
        </a:buClr>
        <a:buFont typeface="Verdana" pitchFamily="34" charset="0"/>
        <a:buChar char="−"/>
        <a:defRPr sz="1600">
          <a:solidFill>
            <a:srgbClr val="002868"/>
          </a:solidFill>
          <a:latin typeface="+mn-lt"/>
        </a:defRPr>
      </a:lvl2pPr>
      <a:lvl3pPr marL="914400" indent="-228600" algn="l" rtl="0" eaLnBrk="1" fontAlgn="base" hangingPunct="1">
        <a:spcBef>
          <a:spcPct val="30000"/>
        </a:spcBef>
        <a:spcAft>
          <a:spcPct val="0"/>
        </a:spcAft>
        <a:buClr>
          <a:srgbClr val="69C0C9"/>
        </a:buClr>
        <a:buFont typeface="Verdana" pitchFamily="34" charset="0"/>
        <a:buChar char="•"/>
        <a:defRPr sz="1400">
          <a:solidFill>
            <a:srgbClr val="002868"/>
          </a:solidFill>
          <a:latin typeface="+mn-lt"/>
        </a:defRPr>
      </a:lvl3pPr>
      <a:lvl4pPr marL="1257300" indent="-228600" algn="l" rtl="0" eaLnBrk="1" fontAlgn="base" hangingPunct="1">
        <a:spcBef>
          <a:spcPct val="30000"/>
        </a:spcBef>
        <a:spcAft>
          <a:spcPct val="0"/>
        </a:spcAft>
        <a:buClr>
          <a:srgbClr val="69C0C9"/>
        </a:buClr>
        <a:buFont typeface="Verdana" pitchFamily="34" charset="0"/>
        <a:buChar char="–"/>
        <a:defRPr sz="1200">
          <a:solidFill>
            <a:srgbClr val="002868"/>
          </a:solidFill>
          <a:latin typeface="+mn-lt"/>
        </a:defRPr>
      </a:lvl4pPr>
      <a:lvl5pPr marL="1600200" indent="-228600" algn="l" rtl="0" eaLnBrk="1" fontAlgn="base" hangingPunct="1">
        <a:spcBef>
          <a:spcPct val="30000"/>
        </a:spcBef>
        <a:spcAft>
          <a:spcPct val="0"/>
        </a:spcAft>
        <a:buClr>
          <a:srgbClr val="69C0C9"/>
        </a:buClr>
        <a:buFont typeface="Verdana" pitchFamily="34" charset="0"/>
        <a:buChar char="◦"/>
        <a:defRPr sz="1200">
          <a:solidFill>
            <a:srgbClr val="002868"/>
          </a:solidFill>
          <a:latin typeface="+mn-lt"/>
        </a:defRPr>
      </a:lvl5pPr>
      <a:lvl6pPr marL="20574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6pPr>
      <a:lvl7pPr marL="25146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7pPr>
      <a:lvl8pPr marL="29718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8pPr>
      <a:lvl9pPr marL="34290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5"/>
          <p:cNvSpPr>
            <a:spLocks noGrp="1" noChangeArrowheads="1"/>
          </p:cNvSpPr>
          <p:nvPr>
            <p:ph type="ctrTitle"/>
          </p:nvPr>
        </p:nvSpPr>
        <p:spPr>
          <a:xfrm>
            <a:off x="1598645" y="2030219"/>
            <a:ext cx="8748464" cy="2952328"/>
          </a:xfrm>
        </p:spPr>
        <p:txBody>
          <a:bodyPr/>
          <a:lstStyle/>
          <a:p>
            <a:pPr>
              <a:lnSpc>
                <a:spcPts val="5800"/>
              </a:lnSpc>
              <a:spcAft>
                <a:spcPts val="0"/>
              </a:spcAft>
            </a:pPr>
            <a:r>
              <a:rPr lang="pt-BR" altLang="pt-BR" sz="3600" dirty="0"/>
              <a:t>TCC</a:t>
            </a:r>
          </a:p>
        </p:txBody>
      </p:sp>
    </p:spTree>
    <p:extLst>
      <p:ext uri="{BB962C8B-B14F-4D97-AF65-F5344CB8AC3E}">
        <p14:creationId xmlns:p14="http://schemas.microsoft.com/office/powerpoint/2010/main" val="20437090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8F1C47-5AE8-585D-6520-3B69E2D38D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6">
            <a:extLst>
              <a:ext uri="{FF2B5EF4-FFF2-40B4-BE49-F238E27FC236}">
                <a16:creationId xmlns:a16="http://schemas.microsoft.com/office/drawing/2014/main" id="{A5D055E3-7519-F585-409B-D133910901F2}"/>
              </a:ext>
            </a:extLst>
          </p:cNvPr>
          <p:cNvSpPr txBox="1">
            <a:spLocks noChangeArrowheads="1"/>
          </p:cNvSpPr>
          <p:nvPr/>
        </p:nvSpPr>
        <p:spPr>
          <a:xfrm>
            <a:off x="449739" y="264524"/>
            <a:ext cx="10968567" cy="5715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3300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3300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3300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3300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3300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3300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3300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3300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3300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kern="0" dirty="0" err="1">
                <a:solidFill>
                  <a:srgbClr val="C00000"/>
                </a:solidFill>
              </a:rPr>
              <a:t>Apresentação</a:t>
            </a:r>
            <a:r>
              <a:rPr lang="en-US" kern="0" dirty="0">
                <a:solidFill>
                  <a:srgbClr val="C00000"/>
                </a:solidFill>
              </a:rPr>
              <a:t> do </a:t>
            </a:r>
            <a:r>
              <a:rPr lang="en-US" kern="0" dirty="0" err="1">
                <a:solidFill>
                  <a:srgbClr val="C00000"/>
                </a:solidFill>
              </a:rPr>
              <a:t>produto</a:t>
            </a:r>
            <a:r>
              <a:rPr lang="en-US" kern="0" dirty="0">
                <a:solidFill>
                  <a:srgbClr val="C00000"/>
                </a:solidFill>
              </a:rPr>
              <a:t>/</a:t>
            </a:r>
            <a:r>
              <a:rPr lang="en-US" kern="0" dirty="0" err="1">
                <a:solidFill>
                  <a:srgbClr val="C00000"/>
                </a:solidFill>
              </a:rPr>
              <a:t>classe</a:t>
            </a:r>
            <a:r>
              <a:rPr lang="en-US" kern="0" dirty="0">
                <a:solidFill>
                  <a:srgbClr val="C00000"/>
                </a:solidFill>
              </a:rPr>
              <a:t> </a:t>
            </a:r>
            <a:r>
              <a:rPr lang="en-US" kern="0" dirty="0" err="1">
                <a:solidFill>
                  <a:srgbClr val="C00000"/>
                </a:solidFill>
              </a:rPr>
              <a:t>terapêutica</a:t>
            </a:r>
            <a:endParaRPr lang="en-US" sz="2000" kern="0" dirty="0">
              <a:solidFill>
                <a:srgbClr val="C00000"/>
              </a:solidFill>
            </a:endParaRPr>
          </a:p>
        </p:txBody>
      </p:sp>
      <p:pic>
        <p:nvPicPr>
          <p:cNvPr id="5" name="Imagem 4" descr="Texto&#10;&#10;O conteúdo gerado por IA pode estar incorreto.">
            <a:extLst>
              <a:ext uri="{FF2B5EF4-FFF2-40B4-BE49-F238E27FC236}">
                <a16:creationId xmlns:a16="http://schemas.microsoft.com/office/drawing/2014/main" id="{8F04C773-DC83-F09C-72DF-EEA69E31286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939" y="0"/>
            <a:ext cx="1112212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85793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6513DE-0308-34DC-70FA-669A757E97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 descr="Diagrama&#10;&#10;O conteúdo gerado por IA pode estar incorreto.">
            <a:extLst>
              <a:ext uri="{FF2B5EF4-FFF2-40B4-BE49-F238E27FC236}">
                <a16:creationId xmlns:a16="http://schemas.microsoft.com/office/drawing/2014/main" id="{31A14FD2-9AE9-76D4-6C5D-DCB6A20BC0E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Imagem 7" descr="Texto&#10;&#10;O conteúdo gerado por IA pode estar incorreto.">
            <a:extLst>
              <a:ext uri="{FF2B5EF4-FFF2-40B4-BE49-F238E27FC236}">
                <a16:creationId xmlns:a16="http://schemas.microsoft.com/office/drawing/2014/main" id="{ED394286-9BB9-1C2F-749D-7AAF533171E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939" y="0"/>
            <a:ext cx="1112212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4759474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EFCF67-E0FD-CEB5-2B30-6E7304E1CC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6">
            <a:extLst>
              <a:ext uri="{FF2B5EF4-FFF2-40B4-BE49-F238E27FC236}">
                <a16:creationId xmlns:a16="http://schemas.microsoft.com/office/drawing/2014/main" id="{ABD795E4-7CA2-5FEB-D6E2-94959189A30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449739" y="264524"/>
            <a:ext cx="10968567" cy="571500"/>
          </a:xfrm>
        </p:spPr>
        <p:txBody>
          <a:bodyPr/>
          <a:lstStyle/>
          <a:p>
            <a:pPr eaLnBrk="1" hangingPunct="1"/>
            <a:r>
              <a:rPr lang="en-US" b="1" dirty="0">
                <a:solidFill>
                  <a:srgbClr val="C00000"/>
                </a:solidFill>
              </a:rPr>
              <a:t>Stakeholder Analysis</a:t>
            </a:r>
            <a:endParaRPr lang="en-US" sz="2000" b="1" dirty="0">
              <a:solidFill>
                <a:srgbClr val="C00000"/>
              </a:solidFill>
            </a:endParaRPr>
          </a:p>
        </p:txBody>
      </p:sp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FC2984BD-4799-E631-506F-9D8F125BD80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739" y="976928"/>
            <a:ext cx="10244866" cy="5762737"/>
          </a:xfrm>
          <a:prstGeom prst="rect">
            <a:avLst/>
          </a:prstGeom>
        </p:spPr>
      </p:pic>
      <p:pic>
        <p:nvPicPr>
          <p:cNvPr id="4" name="Imagem 3" descr="Texto&#10;&#10;O conteúdo gerado por IA pode estar incorreto.">
            <a:extLst>
              <a:ext uri="{FF2B5EF4-FFF2-40B4-BE49-F238E27FC236}">
                <a16:creationId xmlns:a16="http://schemas.microsoft.com/office/drawing/2014/main" id="{E99B1613-C9CB-2C18-7CAF-A8227DEB38B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939" y="0"/>
            <a:ext cx="1112212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8294941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ela 2">
            <a:extLst>
              <a:ext uri="{FF2B5EF4-FFF2-40B4-BE49-F238E27FC236}">
                <a16:creationId xmlns:a16="http://schemas.microsoft.com/office/drawing/2014/main" id="{07B26EEF-7A4C-BB4E-02B3-01C150FD27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316653"/>
              </p:ext>
            </p:extLst>
          </p:nvPr>
        </p:nvGraphicFramePr>
        <p:xfrm>
          <a:off x="507253" y="1179871"/>
          <a:ext cx="11164793" cy="3230763"/>
        </p:xfrm>
        <a:graphic>
          <a:graphicData uri="http://schemas.openxmlformats.org/drawingml/2006/table">
            <a:tbl>
              <a:tblPr/>
              <a:tblGrid>
                <a:gridCol w="4378919">
                  <a:extLst>
                    <a:ext uri="{9D8B030D-6E8A-4147-A177-3AD203B41FA5}">
                      <a16:colId xmlns:a16="http://schemas.microsoft.com/office/drawing/2014/main" val="929381269"/>
                    </a:ext>
                  </a:extLst>
                </a:gridCol>
                <a:gridCol w="1145479">
                  <a:extLst>
                    <a:ext uri="{9D8B030D-6E8A-4147-A177-3AD203B41FA5}">
                      <a16:colId xmlns:a16="http://schemas.microsoft.com/office/drawing/2014/main" val="1995290711"/>
                    </a:ext>
                  </a:extLst>
                </a:gridCol>
                <a:gridCol w="1145479">
                  <a:extLst>
                    <a:ext uri="{9D8B030D-6E8A-4147-A177-3AD203B41FA5}">
                      <a16:colId xmlns:a16="http://schemas.microsoft.com/office/drawing/2014/main" val="967721018"/>
                    </a:ext>
                  </a:extLst>
                </a:gridCol>
                <a:gridCol w="1145479">
                  <a:extLst>
                    <a:ext uri="{9D8B030D-6E8A-4147-A177-3AD203B41FA5}">
                      <a16:colId xmlns:a16="http://schemas.microsoft.com/office/drawing/2014/main" val="1466625092"/>
                    </a:ext>
                  </a:extLst>
                </a:gridCol>
                <a:gridCol w="1116479">
                  <a:extLst>
                    <a:ext uri="{9D8B030D-6E8A-4147-A177-3AD203B41FA5}">
                      <a16:colId xmlns:a16="http://schemas.microsoft.com/office/drawing/2014/main" val="2063709163"/>
                    </a:ext>
                  </a:extLst>
                </a:gridCol>
                <a:gridCol w="1116479">
                  <a:extLst>
                    <a:ext uri="{9D8B030D-6E8A-4147-A177-3AD203B41FA5}">
                      <a16:colId xmlns:a16="http://schemas.microsoft.com/office/drawing/2014/main" val="1404295379"/>
                    </a:ext>
                  </a:extLst>
                </a:gridCol>
                <a:gridCol w="1116479">
                  <a:extLst>
                    <a:ext uri="{9D8B030D-6E8A-4147-A177-3AD203B41FA5}">
                      <a16:colId xmlns:a16="http://schemas.microsoft.com/office/drawing/2014/main" val="3237507096"/>
                    </a:ext>
                  </a:extLst>
                </a:gridCol>
              </a:tblGrid>
              <a:tr h="298224">
                <a:tc>
                  <a:txBody>
                    <a:bodyPr/>
                    <a:lstStyle/>
                    <a:p>
                      <a:pPr algn="l" fontAlgn="b"/>
                      <a:endParaRPr lang="pt-BR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5285604"/>
                  </a:ext>
                </a:extLst>
              </a:tr>
              <a:tr h="298224">
                <a:tc>
                  <a:txBody>
                    <a:bodyPr/>
                    <a:lstStyle/>
                    <a:p>
                      <a:pPr algn="l" fontAlgn="ctr"/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7215125"/>
                  </a:ext>
                </a:extLst>
              </a:tr>
              <a:tr h="477159">
                <a:tc>
                  <a:txBody>
                    <a:bodyPr/>
                    <a:lstStyle/>
                    <a:p>
                      <a:pPr algn="l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lt;Nome do Produto&gt;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scritor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rmácia de Red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rmácia Independent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rmacêutico responsável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lconist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uária do Contraceptiv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8629580"/>
                  </a:ext>
                </a:extLst>
              </a:tr>
              <a:tr h="415029">
                <a:tc>
                  <a:txBody>
                    <a:bodyPr/>
                    <a:lstStyle/>
                    <a:p>
                      <a:pPr algn="l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unçã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6534878"/>
                  </a:ext>
                </a:extLst>
              </a:tr>
              <a:tr h="415029">
                <a:tc>
                  <a:txBody>
                    <a:bodyPr/>
                    <a:lstStyle/>
                    <a:p>
                      <a:pPr algn="l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der para recomendar o Zelen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7937057"/>
                  </a:ext>
                </a:extLst>
              </a:tr>
              <a:tr h="415029">
                <a:tc>
                  <a:txBody>
                    <a:bodyPr/>
                    <a:lstStyle/>
                    <a:p>
                      <a:pPr algn="l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der de influência negativa sobre o Zelen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504722"/>
                  </a:ext>
                </a:extLst>
              </a:tr>
              <a:tr h="415029">
                <a:tc>
                  <a:txBody>
                    <a:bodyPr/>
                    <a:lstStyle/>
                    <a:p>
                      <a:pPr algn="l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pacto da influência negativa nas vendas de Zelen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4338896"/>
                  </a:ext>
                </a:extLst>
              </a:tr>
              <a:tr h="497040">
                <a:tc>
                  <a:txBody>
                    <a:bodyPr/>
                    <a:lstStyle/>
                    <a:p>
                      <a:pPr algn="l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babilidade da nossa empresa contornar a influência negativ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9729260"/>
                  </a:ext>
                </a:extLst>
              </a:tr>
            </a:tbl>
          </a:graphicData>
        </a:graphic>
      </p:graphicFrame>
      <p:sp>
        <p:nvSpPr>
          <p:cNvPr id="2" name="Rectangle 26">
            <a:extLst>
              <a:ext uri="{FF2B5EF4-FFF2-40B4-BE49-F238E27FC236}">
                <a16:creationId xmlns:a16="http://schemas.microsoft.com/office/drawing/2014/main" id="{7F3CB116-64E9-7845-89C8-3223946BC8C3}"/>
              </a:ext>
            </a:extLst>
          </p:cNvPr>
          <p:cNvSpPr txBox="1">
            <a:spLocks noChangeArrowheads="1"/>
          </p:cNvSpPr>
          <p:nvPr/>
        </p:nvSpPr>
        <p:spPr>
          <a:xfrm>
            <a:off x="449739" y="264524"/>
            <a:ext cx="10968567" cy="5715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3300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3300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3300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3300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3300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3300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3300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3300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3300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kern="0">
                <a:solidFill>
                  <a:srgbClr val="C00000"/>
                </a:solidFill>
              </a:rPr>
              <a:t>Avaliação de Risco dos Stakeholders</a:t>
            </a:r>
            <a:endParaRPr lang="en-US" sz="2000" kern="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65327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EE22A9-1F00-289F-7EDF-F12DDADB94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6">
            <a:extLst>
              <a:ext uri="{FF2B5EF4-FFF2-40B4-BE49-F238E27FC236}">
                <a16:creationId xmlns:a16="http://schemas.microsoft.com/office/drawing/2014/main" id="{3890F1D2-483D-9264-80AF-997C7863E37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08733" y="18718"/>
            <a:ext cx="10968567" cy="571500"/>
          </a:xfrm>
        </p:spPr>
        <p:txBody>
          <a:bodyPr/>
          <a:lstStyle/>
          <a:p>
            <a:pPr eaLnBrk="1" hangingPunct="1"/>
            <a:r>
              <a:rPr lang="en-US" b="1" dirty="0" err="1">
                <a:solidFill>
                  <a:srgbClr val="C00000"/>
                </a:solidFill>
              </a:rPr>
              <a:t>Análise</a:t>
            </a:r>
            <a:r>
              <a:rPr lang="en-US" b="1" dirty="0">
                <a:solidFill>
                  <a:srgbClr val="C00000"/>
                </a:solidFill>
              </a:rPr>
              <a:t> de </a:t>
            </a:r>
            <a:r>
              <a:rPr lang="en-US" b="1" dirty="0" err="1">
                <a:solidFill>
                  <a:srgbClr val="C00000"/>
                </a:solidFill>
              </a:rPr>
              <a:t>concorrentes</a:t>
            </a:r>
            <a:r>
              <a:rPr lang="en-US" b="1" dirty="0">
                <a:solidFill>
                  <a:srgbClr val="C00000"/>
                </a:solidFill>
              </a:rPr>
              <a:t> </a:t>
            </a:r>
            <a:r>
              <a:rPr lang="en-US" b="1" dirty="0" err="1">
                <a:solidFill>
                  <a:srgbClr val="C00000"/>
                </a:solidFill>
              </a:rPr>
              <a:t>diretos</a:t>
            </a:r>
            <a:endParaRPr lang="en-US" sz="2000" b="1" dirty="0">
              <a:solidFill>
                <a:srgbClr val="C00000"/>
              </a:solidFill>
            </a:endParaRPr>
          </a:p>
        </p:txBody>
      </p:sp>
      <p:sp>
        <p:nvSpPr>
          <p:cNvPr id="6" name="Text Box 80">
            <a:extLst>
              <a:ext uri="{FF2B5EF4-FFF2-40B4-BE49-F238E27FC236}">
                <a16:creationId xmlns:a16="http://schemas.microsoft.com/office/drawing/2014/main" id="{741BFED1-AB17-B2F4-117F-71E4C0CA5AE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4507" y="804443"/>
            <a:ext cx="11148367" cy="27546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E0733"/>
                </a:solidFill>
                <a:effectLst/>
                <a:uLnTx/>
                <a:uFillTx/>
                <a:latin typeface="Verdana"/>
                <a:ea typeface="+mn-ea"/>
                <a:cs typeface="Arial" charset="0"/>
              </a:rPr>
              <a:t>Pontos Fortes e Pontos Fraco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E0733"/>
              </a:solidFill>
              <a:effectLst/>
              <a:uLnTx/>
              <a:uFillTx/>
              <a:latin typeface="Verdana"/>
              <a:ea typeface="+mn-ea"/>
              <a:cs typeface="Arial" charset="0"/>
            </a:endParaRPr>
          </a:p>
        </p:txBody>
      </p:sp>
      <p:sp>
        <p:nvSpPr>
          <p:cNvPr id="10" name="Text Box 80">
            <a:extLst>
              <a:ext uri="{FF2B5EF4-FFF2-40B4-BE49-F238E27FC236}">
                <a16:creationId xmlns:a16="http://schemas.microsoft.com/office/drawing/2014/main" id="{564F4698-72C9-765B-BD9A-1733ED22ED6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2214" y="1205609"/>
            <a:ext cx="9534043" cy="22967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 dirty="0">
                <a:ln>
                  <a:noFill/>
                </a:ln>
                <a:solidFill>
                  <a:srgbClr val="0E0733"/>
                </a:solidFill>
                <a:effectLst/>
                <a:uLnTx/>
                <a:uFillTx/>
                <a:latin typeface="Verdana"/>
                <a:ea typeface="+mn-ea"/>
                <a:cs typeface="Arial" charset="0"/>
              </a:rPr>
              <a:t>Selecione ao menos três concorrentes diretos (se houver) e procure informações que </a:t>
            </a:r>
            <a:r>
              <a:rPr lang="pt-BR" sz="1000" dirty="0">
                <a:solidFill>
                  <a:srgbClr val="0E0733"/>
                </a:solidFill>
                <a:latin typeface="Verdana"/>
                <a:cs typeface="Arial" charset="0"/>
              </a:rPr>
              <a:t>apresente os</a:t>
            </a:r>
            <a:r>
              <a:rPr kumimoji="0" lang="pt-BR" sz="1000" b="0" i="0" u="none" strike="noStrike" kern="1200" cap="none" spc="0" normalizeH="0" baseline="0" noProof="0" dirty="0">
                <a:ln>
                  <a:noFill/>
                </a:ln>
                <a:solidFill>
                  <a:srgbClr val="0E0733"/>
                </a:solidFill>
                <a:effectLst/>
                <a:uLnTx/>
                <a:uFillTx/>
                <a:latin typeface="Verdana"/>
                <a:ea typeface="+mn-ea"/>
                <a:cs typeface="Arial" charset="0"/>
              </a:rPr>
              <a:t> pontos fortes e pontos fracos.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E0733"/>
              </a:solidFill>
              <a:effectLst/>
              <a:uLnTx/>
              <a:uFillTx/>
              <a:latin typeface="Verdana"/>
              <a:ea typeface="+mn-ea"/>
              <a:cs typeface="Arial" charset="0"/>
            </a:endParaRPr>
          </a:p>
        </p:txBody>
      </p:sp>
      <p:graphicFrame>
        <p:nvGraphicFramePr>
          <p:cNvPr id="3" name="Tabela 2">
            <a:extLst>
              <a:ext uri="{FF2B5EF4-FFF2-40B4-BE49-F238E27FC236}">
                <a16:creationId xmlns:a16="http://schemas.microsoft.com/office/drawing/2014/main" id="{79D8753A-5793-89F3-61B4-828EB0EF07A4}"/>
              </a:ext>
            </a:extLst>
          </p:cNvPr>
          <p:cNvGraphicFramePr>
            <a:graphicFrameLocks noGrp="1"/>
          </p:cNvGraphicFramePr>
          <p:nvPr/>
        </p:nvGraphicFramePr>
        <p:xfrm>
          <a:off x="424507" y="1698487"/>
          <a:ext cx="10968036" cy="4731497"/>
        </p:xfrm>
        <a:graphic>
          <a:graphicData uri="http://schemas.openxmlformats.org/drawingml/2006/table">
            <a:tbl>
              <a:tblPr/>
              <a:tblGrid>
                <a:gridCol w="1828006">
                  <a:extLst>
                    <a:ext uri="{9D8B030D-6E8A-4147-A177-3AD203B41FA5}">
                      <a16:colId xmlns:a16="http://schemas.microsoft.com/office/drawing/2014/main" val="343070186"/>
                    </a:ext>
                  </a:extLst>
                </a:gridCol>
                <a:gridCol w="1828006">
                  <a:extLst>
                    <a:ext uri="{9D8B030D-6E8A-4147-A177-3AD203B41FA5}">
                      <a16:colId xmlns:a16="http://schemas.microsoft.com/office/drawing/2014/main" val="3925096083"/>
                    </a:ext>
                  </a:extLst>
                </a:gridCol>
                <a:gridCol w="1828006">
                  <a:extLst>
                    <a:ext uri="{9D8B030D-6E8A-4147-A177-3AD203B41FA5}">
                      <a16:colId xmlns:a16="http://schemas.microsoft.com/office/drawing/2014/main" val="2116234830"/>
                    </a:ext>
                  </a:extLst>
                </a:gridCol>
                <a:gridCol w="1828006">
                  <a:extLst>
                    <a:ext uri="{9D8B030D-6E8A-4147-A177-3AD203B41FA5}">
                      <a16:colId xmlns:a16="http://schemas.microsoft.com/office/drawing/2014/main" val="1676480341"/>
                    </a:ext>
                  </a:extLst>
                </a:gridCol>
                <a:gridCol w="1828006">
                  <a:extLst>
                    <a:ext uri="{9D8B030D-6E8A-4147-A177-3AD203B41FA5}">
                      <a16:colId xmlns:a16="http://schemas.microsoft.com/office/drawing/2014/main" val="686110609"/>
                    </a:ext>
                  </a:extLst>
                </a:gridCol>
                <a:gridCol w="1828006">
                  <a:extLst>
                    <a:ext uri="{9D8B030D-6E8A-4147-A177-3AD203B41FA5}">
                      <a16:colId xmlns:a16="http://schemas.microsoft.com/office/drawing/2014/main" val="1550505887"/>
                    </a:ext>
                  </a:extLst>
                </a:gridCol>
              </a:tblGrid>
              <a:tr h="446783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pt-BR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lt;Concorrente 1&gt;</a:t>
                      </a:r>
                    </a:p>
                  </a:txBody>
                  <a:tcPr marL="6607" marR="6607" marT="6607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pt-BR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lt;Concorrente 2&gt;</a:t>
                      </a:r>
                    </a:p>
                  </a:txBody>
                  <a:tcPr marL="6607" marR="6607" marT="6607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pt-BR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lt;Concorrente 3&gt;</a:t>
                      </a:r>
                    </a:p>
                  </a:txBody>
                  <a:tcPr marL="6607" marR="6607" marT="6607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3021477"/>
                  </a:ext>
                </a:extLst>
              </a:tr>
              <a:tr h="510608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lt;formulação&gt;</a:t>
                      </a:r>
                    </a:p>
                  </a:txBody>
                  <a:tcPr marL="6607" marR="6607" marT="66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lt;formulação&gt;</a:t>
                      </a:r>
                      <a:endParaRPr lang="pt-BR" sz="10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07" marR="6607" marT="66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lt;formulação&gt;</a:t>
                      </a:r>
                    </a:p>
                  </a:txBody>
                  <a:tcPr marL="6607" marR="6607" marT="66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6732189"/>
                  </a:ext>
                </a:extLst>
              </a:tr>
              <a:tr h="382957"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nto Fortes</a:t>
                      </a:r>
                    </a:p>
                  </a:txBody>
                  <a:tcPr marL="6607" marR="6607" marT="66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ntos Fracos</a:t>
                      </a:r>
                    </a:p>
                  </a:txBody>
                  <a:tcPr marL="6607" marR="6607" marT="66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nto Fortes</a:t>
                      </a:r>
                    </a:p>
                  </a:txBody>
                  <a:tcPr marL="6607" marR="6607" marT="66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ntos Fracos</a:t>
                      </a:r>
                    </a:p>
                  </a:txBody>
                  <a:tcPr marL="6607" marR="6607" marT="66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nto Fortes</a:t>
                      </a:r>
                    </a:p>
                  </a:txBody>
                  <a:tcPr marL="6607" marR="6607" marT="66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ntos Fracos</a:t>
                      </a:r>
                    </a:p>
                  </a:txBody>
                  <a:tcPr marL="6607" marR="6607" marT="66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2183256"/>
                  </a:ext>
                </a:extLst>
              </a:tr>
              <a:tr h="307202"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9025136"/>
                  </a:ext>
                </a:extLst>
              </a:tr>
              <a:tr h="307202"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8823879"/>
                  </a:ext>
                </a:extLst>
              </a:tr>
              <a:tr h="307202"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5818229"/>
                  </a:ext>
                </a:extLst>
              </a:tr>
              <a:tr h="307202"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5571553"/>
                  </a:ext>
                </a:extLst>
              </a:tr>
              <a:tr h="307202"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815692"/>
                  </a:ext>
                </a:extLst>
              </a:tr>
              <a:tr h="307202"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5500787"/>
                  </a:ext>
                </a:extLst>
              </a:tr>
              <a:tr h="307202"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6244167"/>
                  </a:ext>
                </a:extLst>
              </a:tr>
              <a:tr h="307202"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7858955"/>
                  </a:ext>
                </a:extLst>
              </a:tr>
              <a:tr h="307202"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0757187"/>
                  </a:ext>
                </a:extLst>
              </a:tr>
              <a:tr h="307202"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135388"/>
                  </a:ext>
                </a:extLst>
              </a:tr>
              <a:tr h="319129"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07" marR="6607" marT="66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08541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68495751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6"/>
          <p:cNvSpPr>
            <a:spLocks noGrp="1" noChangeArrowheads="1"/>
          </p:cNvSpPr>
          <p:nvPr>
            <p:ph type="title"/>
          </p:nvPr>
        </p:nvSpPr>
        <p:spPr>
          <a:xfrm>
            <a:off x="508733" y="18718"/>
            <a:ext cx="10968567" cy="571500"/>
          </a:xfrm>
        </p:spPr>
        <p:txBody>
          <a:bodyPr/>
          <a:lstStyle/>
          <a:p>
            <a:pPr eaLnBrk="1" hangingPunct="1"/>
            <a:r>
              <a:rPr lang="en-US" b="1" dirty="0">
                <a:solidFill>
                  <a:srgbClr val="C00000"/>
                </a:solidFill>
              </a:rPr>
              <a:t>Product Characterization</a:t>
            </a:r>
            <a:endParaRPr lang="en-US" sz="2000" b="1" dirty="0">
              <a:solidFill>
                <a:srgbClr val="C00000"/>
              </a:solidFill>
            </a:endParaRPr>
          </a:p>
        </p:txBody>
      </p:sp>
      <p:sp>
        <p:nvSpPr>
          <p:cNvPr id="6" name="Text Box 80"/>
          <p:cNvSpPr txBox="1">
            <a:spLocks noChangeArrowheads="1"/>
          </p:cNvSpPr>
          <p:nvPr/>
        </p:nvSpPr>
        <p:spPr bwMode="auto">
          <a:xfrm>
            <a:off x="424507" y="804443"/>
            <a:ext cx="11148367" cy="27546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E0733"/>
                </a:solidFill>
                <a:effectLst/>
                <a:uLnTx/>
                <a:uFillTx/>
                <a:latin typeface="Verdana"/>
                <a:ea typeface="+mn-ea"/>
                <a:cs typeface="Arial" charset="0"/>
              </a:rPr>
              <a:t>Qual é o produto que melhor atende ao atributo discriminado?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E0733"/>
              </a:solidFill>
              <a:effectLst/>
              <a:uLnTx/>
              <a:uFillTx/>
              <a:latin typeface="Verdana"/>
              <a:ea typeface="+mn-ea"/>
              <a:cs typeface="Arial" charset="0"/>
            </a:endParaRPr>
          </a:p>
        </p:txBody>
      </p:sp>
      <p:sp>
        <p:nvSpPr>
          <p:cNvPr id="10" name="Text Box 80">
            <a:extLst>
              <a:ext uri="{FF2B5EF4-FFF2-40B4-BE49-F238E27FC236}">
                <a16:creationId xmlns:a16="http://schemas.microsoft.com/office/drawing/2014/main" id="{912CCC89-DC4D-4138-873E-7E8C26FFFF4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2214" y="1205609"/>
            <a:ext cx="9534043" cy="22967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 dirty="0">
                <a:ln>
                  <a:noFill/>
                </a:ln>
                <a:solidFill>
                  <a:srgbClr val="0E0733"/>
                </a:solidFill>
                <a:effectLst/>
                <a:uLnTx/>
                <a:uFillTx/>
                <a:latin typeface="Verdana"/>
                <a:ea typeface="+mn-ea"/>
                <a:cs typeface="Arial" charset="0"/>
              </a:rPr>
              <a:t>Ranqueie de 1 a 4, sendo que nenhum produto deverá ter a mesma nota em cada atributo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E0733"/>
              </a:solidFill>
              <a:effectLst/>
              <a:uLnTx/>
              <a:uFillTx/>
              <a:latin typeface="Verdana"/>
              <a:ea typeface="+mn-ea"/>
              <a:cs typeface="Arial" charset="0"/>
            </a:endParaRPr>
          </a:p>
        </p:txBody>
      </p:sp>
      <p:graphicFrame>
        <p:nvGraphicFramePr>
          <p:cNvPr id="8" name="Tabela 7">
            <a:extLst>
              <a:ext uri="{FF2B5EF4-FFF2-40B4-BE49-F238E27FC236}">
                <a16:creationId xmlns:a16="http://schemas.microsoft.com/office/drawing/2014/main" id="{839513D4-017C-45D1-B93F-E34E32246E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1646628"/>
              </p:ext>
            </p:extLst>
          </p:nvPr>
        </p:nvGraphicFramePr>
        <p:xfrm>
          <a:off x="424506" y="1539551"/>
          <a:ext cx="11148368" cy="4643720"/>
        </p:xfrm>
        <a:graphic>
          <a:graphicData uri="http://schemas.openxmlformats.org/drawingml/2006/table">
            <a:tbl>
              <a:tblPr/>
              <a:tblGrid>
                <a:gridCol w="47311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6615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5370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439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5338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14966">
                <a:tc>
                  <a:txBody>
                    <a:bodyPr/>
                    <a:lstStyle/>
                    <a:p>
                      <a:pPr algn="l" fontAlgn="ctr"/>
                      <a:r>
                        <a:rPr lang="pt-BR" sz="16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Driver/Atributo</a:t>
                      </a:r>
                    </a:p>
                  </a:txBody>
                  <a:tcPr marL="164759" marR="9152" marT="91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1" i="0" u="none" strike="noStrike" dirty="0">
                          <a:solidFill>
                            <a:srgbClr val="C00000"/>
                          </a:solidFill>
                          <a:latin typeface="Verdana"/>
                        </a:rPr>
                        <a:t>Meu Produto</a:t>
                      </a:r>
                      <a:br>
                        <a:rPr lang="pt-BR" sz="1400" b="1" i="0" u="none" strike="noStrike" dirty="0">
                          <a:solidFill>
                            <a:srgbClr val="C00000"/>
                          </a:solidFill>
                          <a:latin typeface="Verdana"/>
                        </a:rPr>
                      </a:br>
                      <a:endParaRPr lang="pt-BR" sz="1400" b="1" i="0" u="none" strike="noStrike" dirty="0">
                        <a:solidFill>
                          <a:srgbClr val="C00000"/>
                        </a:solidFill>
                        <a:latin typeface="Verdana"/>
                      </a:endParaRPr>
                    </a:p>
                  </a:txBody>
                  <a:tcPr marL="9152" marR="9152" marT="91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Concorrente</a:t>
                      </a:r>
                      <a:br>
                        <a:rPr lang="pt-BR" sz="14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</a:br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9152" marR="9152" marT="91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Concorrente</a:t>
                      </a:r>
                      <a:br>
                        <a:rPr lang="pt-BR" sz="14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</a:br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9152" marR="9152" marT="91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Concorrente</a:t>
                      </a:r>
                      <a:br>
                        <a:rPr lang="pt-BR" sz="14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</a:br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3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latin typeface="Verdana"/>
                      </a:endParaRPr>
                    </a:p>
                  </a:txBody>
                  <a:tcPr marL="9152" marR="9152" marT="91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0654">
                <a:tc>
                  <a:txBody>
                    <a:bodyPr/>
                    <a:lstStyle/>
                    <a:p>
                      <a:pPr algn="l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1.  </a:t>
                      </a:r>
                      <a:r>
                        <a:rPr lang="pt-BR" sz="12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1" marR="9151" marT="91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ctr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pt-BR" sz="12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2" marR="9152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ctr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pt-BR" sz="12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2" marR="9152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ctr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pt-BR" sz="12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2" marR="9152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ctr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pt-BR" sz="12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2" marR="9152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0654">
                <a:tc>
                  <a:txBody>
                    <a:bodyPr/>
                    <a:lstStyle/>
                    <a:p>
                      <a:pPr algn="l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2.  </a:t>
                      </a:r>
                      <a:r>
                        <a:rPr lang="pt-BR" sz="12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1" marR="9151" marT="91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ctr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pt-BR" sz="12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2" marR="9152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ctr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pt-BR" sz="12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2" marR="9152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ctr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pt-BR" sz="12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2" marR="9152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ctr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pt-BR" sz="12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2" marR="9152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50654">
                <a:tc>
                  <a:txBody>
                    <a:bodyPr/>
                    <a:lstStyle/>
                    <a:p>
                      <a:pPr algn="l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3.  </a:t>
                      </a:r>
                      <a:r>
                        <a:rPr lang="pt-BR" sz="12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1" marR="9151" marT="91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ctr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pt-BR" sz="12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2" marR="9152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ctr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pt-BR" sz="12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2" marR="9152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ctr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pt-BR" sz="12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2" marR="9152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ctr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pt-BR" sz="12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2" marR="9152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50654">
                <a:tc>
                  <a:txBody>
                    <a:bodyPr/>
                    <a:lstStyle/>
                    <a:p>
                      <a:pPr algn="l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4.  </a:t>
                      </a:r>
                      <a:r>
                        <a:rPr lang="pt-BR" sz="12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1" marR="9151" marT="91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ctr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pt-BR" sz="12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2" marR="9152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ctr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pt-BR" sz="12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2" marR="9152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ctr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pt-BR" sz="12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2" marR="9152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ctr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pt-BR" sz="12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2" marR="9152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8878289"/>
                  </a:ext>
                </a:extLst>
              </a:tr>
              <a:tr h="350654">
                <a:tc>
                  <a:txBody>
                    <a:bodyPr/>
                    <a:lstStyle/>
                    <a:p>
                      <a:pPr algn="l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5.  </a:t>
                      </a:r>
                      <a:r>
                        <a:rPr lang="pt-BR" sz="12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1" marR="9151" marT="91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ctr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pt-BR" sz="12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2" marR="9152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ctr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pt-BR" sz="12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2" marR="9152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ctr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pt-BR" sz="12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2" marR="9152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ctr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pt-BR" sz="12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2" marR="9152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50654">
                <a:tc>
                  <a:txBody>
                    <a:bodyPr/>
                    <a:lstStyle/>
                    <a:p>
                      <a:pPr algn="l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6.  </a:t>
                      </a:r>
                      <a:r>
                        <a:rPr lang="pt-BR" sz="12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</a:t>
                      </a:r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151" marR="9151" marT="91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ctr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pt-BR" sz="12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2" marR="9152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ctr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pt-BR" sz="12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2" marR="9152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ctr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pt-BR" sz="12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2" marR="9152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ctr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pt-BR" sz="12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2" marR="9152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4777617"/>
                  </a:ext>
                </a:extLst>
              </a:tr>
              <a:tr h="350654">
                <a:tc>
                  <a:txBody>
                    <a:bodyPr/>
                    <a:lstStyle/>
                    <a:p>
                      <a:pPr marL="228600" indent="-228600" algn="l" fontAlgn="ctr">
                        <a:buAutoNum type="arabicPeriod" startAt="7"/>
                      </a:pPr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pt-BR" sz="12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1" marR="9151" marT="91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ctr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pt-BR" sz="12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2" marR="9152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ctr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pt-BR" sz="12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2" marR="9152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ctr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pt-BR" sz="12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2" marR="9152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ctr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pt-BR" sz="12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2" marR="9152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50654">
                <a:tc>
                  <a:txBody>
                    <a:bodyPr/>
                    <a:lstStyle/>
                    <a:p>
                      <a:pPr algn="l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8.  </a:t>
                      </a:r>
                      <a:r>
                        <a:rPr lang="pt-BR" sz="12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1" marR="9151" marT="91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ctr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pt-BR" sz="12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2" marR="9152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ctr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pt-BR" sz="12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2" marR="9152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ctr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pt-BR" sz="12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2" marR="9152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ctr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pt-BR" sz="12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2" marR="9152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50654">
                <a:tc>
                  <a:txBody>
                    <a:bodyPr/>
                    <a:lstStyle/>
                    <a:p>
                      <a:pPr algn="l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9. </a:t>
                      </a:r>
                      <a:r>
                        <a:rPr lang="pt-BR" sz="12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</a:t>
                      </a:r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151" marR="9151" marT="91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ctr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pt-BR" sz="12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2" marR="9152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ctr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pt-BR" sz="12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2" marR="9152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ctr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pt-BR" sz="1200" b="1" i="0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152" marR="9152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ctr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pt-BR" sz="12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2" marR="9152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50654">
                <a:tc>
                  <a:txBody>
                    <a:bodyPr/>
                    <a:lstStyle/>
                    <a:p>
                      <a:pPr algn="l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 </a:t>
                      </a:r>
                      <a:r>
                        <a:rPr lang="pt-BR" sz="12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1" marR="9151" marT="91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ctr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pt-BR" sz="12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2" marR="9152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ctr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pt-BR" sz="12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2" marR="9152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ctr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pt-BR" sz="1200" b="1" i="0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152" marR="9152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ctr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pt-BR" sz="1200" b="1" i="0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152" marR="9152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50654">
                <a:tc>
                  <a:txBody>
                    <a:bodyPr/>
                    <a:lstStyle/>
                    <a:p>
                      <a:pPr algn="l" fontAlgn="ctr"/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1" marR="9151" marT="91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ctr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pt-BR" sz="12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2" marR="9152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ctr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pt-BR" sz="12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2" marR="9152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ctr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pt-BR" sz="12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2" marR="9152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ctr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pt-BR" sz="12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2" marR="9152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3528479"/>
                  </a:ext>
                </a:extLst>
              </a:tr>
              <a:tr h="350654">
                <a:tc>
                  <a:txBody>
                    <a:bodyPr/>
                    <a:lstStyle/>
                    <a:p>
                      <a:pPr marL="72000" algn="l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IOR NOTA = MELHOR PROPOSTA DE VALOR</a:t>
                      </a:r>
                    </a:p>
                  </a:txBody>
                  <a:tcPr marL="9152" marR="9152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ctr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pt-BR" sz="12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2" marR="9152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ctr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pt-BR" sz="12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2" marR="9152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ctr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pt-BR" sz="12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2" marR="9152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ctr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pt-BR" sz="12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52" marR="9152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</p:spTree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PESTEL ANALYSIS">
            <a:extLst>
              <a:ext uri="{FF2B5EF4-FFF2-40B4-BE49-F238E27FC236}">
                <a16:creationId xmlns:a16="http://schemas.microsoft.com/office/drawing/2014/main" id="{7FB10062-5B3E-4A8E-83CD-B4FB2B82706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91" r="20197"/>
          <a:stretch/>
        </p:blipFill>
        <p:spPr bwMode="auto">
          <a:xfrm>
            <a:off x="6096000" y="363490"/>
            <a:ext cx="6058815" cy="58138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8" name="AutoShape 4" descr="Resultado de imagem para 1990"/>
          <p:cNvSpPr>
            <a:spLocks noChangeAspect="1" noChangeArrowheads="1"/>
          </p:cNvSpPr>
          <p:nvPr/>
        </p:nvSpPr>
        <p:spPr bwMode="auto">
          <a:xfrm>
            <a:off x="2783681" y="748904"/>
            <a:ext cx="228600" cy="228601"/>
          </a:xfrm>
          <a:prstGeom prst="rect">
            <a:avLst/>
          </a:prstGeom>
          <a:noFill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pt-BR" sz="135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2" name="Rectangle 26"/>
          <p:cNvSpPr txBox="1">
            <a:spLocks noChangeArrowheads="1"/>
          </p:cNvSpPr>
          <p:nvPr/>
        </p:nvSpPr>
        <p:spPr>
          <a:xfrm>
            <a:off x="424543" y="363490"/>
            <a:ext cx="6590855" cy="614015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/>
          <a:p>
            <a:pPr defTabSz="685800">
              <a:spcBef>
                <a:spcPct val="0"/>
              </a:spcBef>
            </a:pPr>
            <a:r>
              <a:rPr lang="pt-BR" sz="2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AÇAS &lt;DO MEU PRODUTO&gt;</a:t>
            </a:r>
            <a:endParaRPr lang="pt-BR" sz="14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590F0ACA-E0A3-4B29-9397-3028713B09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4542" y="1212616"/>
            <a:ext cx="5245999" cy="1292662"/>
          </a:xfrm>
          <a:prstGeom prst="rect">
            <a:avLst/>
          </a:prstGeom>
          <a:noFill/>
          <a:ln w="9525" cap="flat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631825" lvl="1" indent="-371475" defTabSz="685800" fontAlgn="base">
              <a:spcBef>
                <a:spcPct val="40000"/>
              </a:spcBef>
              <a:spcAft>
                <a:spcPct val="20000"/>
              </a:spcAft>
              <a:buClr>
                <a:srgbClr val="002060"/>
              </a:buClr>
              <a:buSzPct val="105000"/>
              <a:buFont typeface="+mj-lt"/>
              <a:buAutoNum type="arabicPeriod"/>
              <a:defRPr/>
            </a:pPr>
            <a:r>
              <a:rPr lang="pt-BR" sz="2000" kern="0" dirty="0">
                <a:solidFill>
                  <a:srgbClr val="00286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</a:p>
          <a:p>
            <a:pPr marL="631825" lvl="1" indent="-371475" defTabSz="685800" fontAlgn="base">
              <a:spcBef>
                <a:spcPct val="40000"/>
              </a:spcBef>
              <a:spcAft>
                <a:spcPct val="20000"/>
              </a:spcAft>
              <a:buClr>
                <a:srgbClr val="002060"/>
              </a:buClr>
              <a:buSzPct val="105000"/>
              <a:buFont typeface="+mj-lt"/>
              <a:buAutoNum type="arabicPeriod"/>
              <a:defRPr/>
            </a:pPr>
            <a:r>
              <a:rPr lang="pt-BR" sz="2000" kern="0" dirty="0">
                <a:solidFill>
                  <a:srgbClr val="00286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X</a:t>
            </a:r>
          </a:p>
          <a:p>
            <a:pPr marL="631825" lvl="1" indent="-371475" defTabSz="685800" fontAlgn="base">
              <a:spcBef>
                <a:spcPct val="40000"/>
              </a:spcBef>
              <a:spcAft>
                <a:spcPct val="20000"/>
              </a:spcAft>
              <a:buClr>
                <a:srgbClr val="002060"/>
              </a:buClr>
              <a:buSzPct val="105000"/>
              <a:buFont typeface="+mj-lt"/>
              <a:buAutoNum type="arabicPeriod"/>
              <a:defRPr/>
            </a:pPr>
            <a:r>
              <a:rPr lang="pt-BR" sz="2000" kern="0" dirty="0">
                <a:solidFill>
                  <a:srgbClr val="00286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C</a:t>
            </a:r>
            <a:endParaRPr lang="pt-BR" kern="0" dirty="0">
              <a:solidFill>
                <a:srgbClr val="00286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92806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6"/>
          <p:cNvSpPr>
            <a:spLocks noGrp="1" noChangeArrowheads="1"/>
          </p:cNvSpPr>
          <p:nvPr>
            <p:ph type="title"/>
          </p:nvPr>
        </p:nvSpPr>
        <p:spPr>
          <a:xfrm>
            <a:off x="381000" y="144268"/>
            <a:ext cx="9531424" cy="476421"/>
          </a:xfrm>
        </p:spPr>
        <p:txBody>
          <a:bodyPr>
            <a:normAutofit/>
          </a:bodyPr>
          <a:lstStyle/>
          <a:p>
            <a:pPr algn="l" eaLnBrk="1" hangingPunct="1"/>
            <a:r>
              <a:rPr lang="pt-BR" sz="2800" dirty="0">
                <a:solidFill>
                  <a:srgbClr val="002060"/>
                </a:solidFill>
              </a:rPr>
              <a:t>SWOT </a:t>
            </a:r>
            <a:r>
              <a:rPr lang="en-US" sz="2800" dirty="0">
                <a:solidFill>
                  <a:srgbClr val="002060"/>
                </a:solidFill>
              </a:rPr>
              <a:t>Analysis</a:t>
            </a:r>
            <a:endParaRPr lang="en-US" sz="1200" dirty="0">
              <a:solidFill>
                <a:srgbClr val="002060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2CE176-C7C5-42C4-916B-A90017B8846D}" type="slidenum">
              <a:rPr lang="en-GB" smtClean="0"/>
              <a:pPr/>
              <a:t>9</a:t>
            </a:fld>
            <a:endParaRPr lang="en-GB"/>
          </a:p>
        </p:txBody>
      </p:sp>
      <p:graphicFrame>
        <p:nvGraphicFramePr>
          <p:cNvPr id="27" name="Group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10134064"/>
              </p:ext>
            </p:extLst>
          </p:nvPr>
        </p:nvGraphicFramePr>
        <p:xfrm>
          <a:off x="381000" y="836712"/>
          <a:ext cx="11070772" cy="4361420"/>
        </p:xfrm>
        <a:graphic>
          <a:graphicData uri="http://schemas.openxmlformats.org/drawingml/2006/table">
            <a:tbl>
              <a:tblPr/>
              <a:tblGrid>
                <a:gridCol w="59109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598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64028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-128"/>
                          <a:cs typeface="Arial" pitchFamily="34" charset="0"/>
                        </a:rPr>
                        <a:t>FORÇAS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-128"/>
                          <a:cs typeface="Arial" pitchFamily="34" charset="0"/>
                        </a:rPr>
                        <a:t>FRAQUEZAS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04555">
                <a:tc>
                  <a:txBody>
                    <a:bodyPr/>
                    <a:lstStyle/>
                    <a:p>
                      <a:pPr marL="174625" indent="-174625" eaLnBrk="0" hangingPunct="0">
                        <a:lnSpc>
                          <a:spcPct val="110000"/>
                        </a:lnSpc>
                        <a:spcBef>
                          <a:spcPct val="10000"/>
                        </a:spcBef>
                        <a:spcAft>
                          <a:spcPts val="30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pt-BR" sz="1200" b="0" dirty="0"/>
                    </a:p>
                  </a:txBody>
                  <a:tcPr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74638" marR="0" lvl="0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"/>
                        </a:spcBef>
                        <a:spcAft>
                          <a:spcPct val="5000"/>
                        </a:spcAft>
                        <a:buClr>
                          <a:schemeClr val="tx2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endParaRPr kumimoji="0" 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828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-128"/>
                          <a:cs typeface="Arial" pitchFamily="34" charset="0"/>
                        </a:rPr>
                        <a:t>OPORTUNIDADES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-128"/>
                          <a:cs typeface="Arial" pitchFamily="34" charset="0"/>
                        </a:rPr>
                        <a:t>AMEAÇAS </a:t>
                      </a: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-128"/>
                          <a:cs typeface="Arial" pitchFamily="34" charset="0"/>
                        </a:rPr>
                        <a:t>(</a:t>
                      </a:r>
                      <a:r>
                        <a:rPr kumimoji="0" lang="en-US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-128"/>
                          <a:cs typeface="Arial" pitchFamily="34" charset="0"/>
                        </a:rPr>
                        <a:t>avaliar</a:t>
                      </a: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-128"/>
                          <a:cs typeface="Arial" pitchFamily="34" charset="0"/>
                        </a:rPr>
                        <a:t> os drivers e </a:t>
                      </a:r>
                      <a:r>
                        <a:rPr kumimoji="0" lang="en-US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-128"/>
                          <a:cs typeface="Arial" pitchFamily="34" charset="0"/>
                        </a:rPr>
                        <a:t>barreiras</a:t>
                      </a: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-128"/>
                          <a:cs typeface="Arial" pitchFamily="34" charset="0"/>
                        </a:rPr>
                        <a:t>)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04555">
                <a:tc>
                  <a:txBody>
                    <a:bodyPr/>
                    <a:lstStyle/>
                    <a:p>
                      <a:pPr marL="174625" indent="-174625" eaLnBrk="0" hangingPunct="0">
                        <a:lnSpc>
                          <a:spcPct val="110000"/>
                        </a:lnSpc>
                        <a:spcBef>
                          <a:spcPct val="10000"/>
                        </a:spcBef>
                        <a:spcAft>
                          <a:spcPts val="30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pt-BR" sz="1200" b="0" noProof="0" dirty="0"/>
                    </a:p>
                  </a:txBody>
                  <a:tcPr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4625" indent="-174625" eaLnBrk="0" hangingPunct="0">
                        <a:lnSpc>
                          <a:spcPct val="110000"/>
                        </a:lnSpc>
                        <a:spcBef>
                          <a:spcPct val="10000"/>
                        </a:spcBef>
                        <a:spcAft>
                          <a:spcPts val="30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pt-BR" sz="1200" b="0" noProof="0" dirty="0"/>
                    </a:p>
                  </a:txBody>
                  <a:tcPr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2" name="Imagem 1" descr="Texto&#10;&#10;O conteúdo gerado por IA pode estar incorreto.">
            <a:extLst>
              <a:ext uri="{FF2B5EF4-FFF2-40B4-BE49-F238E27FC236}">
                <a16:creationId xmlns:a16="http://schemas.microsoft.com/office/drawing/2014/main" id="{BC450C4D-C7F3-CB10-32DE-287A652069D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939" y="0"/>
            <a:ext cx="1112212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0035814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ema1">
  <a:themeElements>
    <a:clrScheme name="Windpower design template 7">
      <a:dk1>
        <a:srgbClr val="000000"/>
      </a:dk1>
      <a:lt1>
        <a:srgbClr val="FFFFFF"/>
      </a:lt1>
      <a:dk2>
        <a:srgbClr val="1B87B7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Windpower design templat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sq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pt-BR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sq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pt-BR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Windpower design template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indpower design template 2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indpower design templat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indpower design template 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indpower design templat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indpower design templat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indpower design template 7">
        <a:dk1>
          <a:srgbClr val="000000"/>
        </a:dk1>
        <a:lt1>
          <a:srgbClr val="FFFFFF"/>
        </a:lt1>
        <a:dk2>
          <a:srgbClr val="1B87B7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lank">
  <a:themeElements>
    <a:clrScheme name="ims">
      <a:dk1>
        <a:srgbClr val="111111"/>
      </a:dk1>
      <a:lt1>
        <a:srgbClr val="FFFFFF"/>
      </a:lt1>
      <a:dk2>
        <a:srgbClr val="0E0733"/>
      </a:dk2>
      <a:lt2>
        <a:srgbClr val="2E8D9E"/>
      </a:lt2>
      <a:accent1>
        <a:srgbClr val="80561B"/>
      </a:accent1>
      <a:accent2>
        <a:srgbClr val="0F6800"/>
      </a:accent2>
      <a:accent3>
        <a:srgbClr val="002868"/>
      </a:accent3>
      <a:accent4>
        <a:srgbClr val="992135"/>
      </a:accent4>
      <a:accent5>
        <a:srgbClr val="848484"/>
      </a:accent5>
      <a:accent6>
        <a:srgbClr val="C0C0C0"/>
      </a:accent6>
      <a:hlink>
        <a:srgbClr val="002868"/>
      </a:hlink>
      <a:folHlink>
        <a:srgbClr val="992135"/>
      </a:folHlink>
    </a:clrScheme>
    <a:fontScheme name="IMS Font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IMS Orange">
      <a:srgbClr val="F98F1E"/>
    </a:custClr>
    <a:custClr name="IMS Blue">
      <a:srgbClr val="4F8ABE"/>
    </a:custClr>
    <a:custClr name="IMS New Green">
      <a:srgbClr val="9BB819"/>
    </a:custClr>
    <a:custClr name="IMS Dark Blue">
      <a:srgbClr val="002868"/>
    </a:custClr>
    <a:custClr name="IMS Cyan">
      <a:srgbClr val="69C0C9"/>
    </a:custClr>
    <a:custClr name="IMS Gray">
      <a:srgbClr val="848484"/>
    </a:custClr>
    <a:custClr name="IMS Light Blue">
      <a:srgbClr val="D5E4F3"/>
    </a:custClr>
    <a:custClr name="IMS Stone">
      <a:srgbClr val="C5C19D"/>
    </a:custClr>
    <a:custClr name="IMS Red">
      <a:srgbClr val="992135"/>
    </a:custClr>
    <a:custClr name="IMS Clay">
      <a:srgbClr val="B7A08B"/>
    </a:custClr>
    <a:custClr name="IMS New Seafoam">
      <a:srgbClr val="73AFB6"/>
    </a:custClr>
    <a:custClr name="IMS Yellow">
      <a:srgbClr val="FDC630"/>
    </a:custClr>
    <a:custClr name="IMS Brown">
      <a:srgbClr val="80561B"/>
    </a:custClr>
    <a:custClr name="IMS Light Warm Gray">
      <a:srgbClr val="E9E3DC"/>
    </a:custClr>
  </a:custClrLst>
</a:theme>
</file>

<file path=ppt/theme/theme3.xml><?xml version="1.0" encoding="utf-8"?>
<a:theme xmlns:a="http://schemas.openxmlformats.org/drawingml/2006/main" name="4_Merck Soreno  02-2012">
  <a:themeElements>
    <a:clrScheme name="Merck Soreno  -  02-2012">
      <a:dk1>
        <a:srgbClr val="000000"/>
      </a:dk1>
      <a:lt1>
        <a:srgbClr val="FFFFFF"/>
      </a:lt1>
      <a:dk2>
        <a:srgbClr val="0033AB"/>
      </a:dk2>
      <a:lt2>
        <a:srgbClr val="768580"/>
      </a:lt2>
      <a:accent1>
        <a:srgbClr val="DEE4E6"/>
      </a:accent1>
      <a:accent2>
        <a:srgbClr val="D5EDFA"/>
      </a:accent2>
      <a:accent3>
        <a:srgbClr val="7BBFFD"/>
      </a:accent3>
      <a:accent4>
        <a:srgbClr val="0A89E8"/>
      </a:accent4>
      <a:accent5>
        <a:srgbClr val="A4B1B6"/>
      </a:accent5>
      <a:accent6>
        <a:srgbClr val="525E62"/>
      </a:accent6>
      <a:hlink>
        <a:srgbClr val="0A89E8"/>
      </a:hlink>
      <a:folHlink>
        <a:srgbClr val="7BBFF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</a:spPr>
      <a:bodyPr tIns="90000" bIns="90000" rtlCol="0" anchor="ctr"/>
      <a:lstStyle>
        <a:defPPr algn="ctr">
          <a:defRPr sz="1400" b="1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tIns="90000" bIns="90000" rtlCol="0">
        <a:spAutoFit/>
      </a:bodyPr>
      <a:lstStyle>
        <a:defPPr>
          <a:defRPr sz="1400" b="1" dirty="0" err="1" smtClean="0"/>
        </a:defPPr>
      </a:lstStyle>
    </a:txDef>
  </a:objectDefaults>
  <a:extraClrSchemeLst>
    <a:extraClrScheme>
      <a:clrScheme name="1_Merck Soreno  02-2012 1">
        <a:dk1>
          <a:srgbClr val="000000"/>
        </a:dk1>
        <a:lt1>
          <a:srgbClr val="FFFFFF"/>
        </a:lt1>
        <a:dk2>
          <a:srgbClr val="0033AB"/>
        </a:dk2>
        <a:lt2>
          <a:srgbClr val="768580"/>
        </a:lt2>
        <a:accent1>
          <a:srgbClr val="DEE4E6"/>
        </a:accent1>
        <a:accent2>
          <a:srgbClr val="D5EDFA"/>
        </a:accent2>
        <a:accent3>
          <a:srgbClr val="FFFFFF"/>
        </a:accent3>
        <a:accent4>
          <a:srgbClr val="000000"/>
        </a:accent4>
        <a:accent5>
          <a:srgbClr val="ECEFF0"/>
        </a:accent5>
        <a:accent6>
          <a:srgbClr val="C1D7E3"/>
        </a:accent6>
        <a:hlink>
          <a:srgbClr val="0A89E8"/>
        </a:hlink>
        <a:folHlink>
          <a:srgbClr val="7BBFF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4_blank">
  <a:themeElements>
    <a:clrScheme name="ims">
      <a:dk1>
        <a:srgbClr val="111111"/>
      </a:dk1>
      <a:lt1>
        <a:srgbClr val="FFFFFF"/>
      </a:lt1>
      <a:dk2>
        <a:srgbClr val="0E0733"/>
      </a:dk2>
      <a:lt2>
        <a:srgbClr val="2E8D9E"/>
      </a:lt2>
      <a:accent1>
        <a:srgbClr val="80561B"/>
      </a:accent1>
      <a:accent2>
        <a:srgbClr val="0F6800"/>
      </a:accent2>
      <a:accent3>
        <a:srgbClr val="002868"/>
      </a:accent3>
      <a:accent4>
        <a:srgbClr val="992135"/>
      </a:accent4>
      <a:accent5>
        <a:srgbClr val="848484"/>
      </a:accent5>
      <a:accent6>
        <a:srgbClr val="C0C0C0"/>
      </a:accent6>
      <a:hlink>
        <a:srgbClr val="002868"/>
      </a:hlink>
      <a:folHlink>
        <a:srgbClr val="992135"/>
      </a:folHlink>
    </a:clrScheme>
    <a:fontScheme name="IMS Font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IMS Orange">
      <a:srgbClr val="F98F1E"/>
    </a:custClr>
    <a:custClr name="IMS Blue">
      <a:srgbClr val="4F8ABE"/>
    </a:custClr>
    <a:custClr name="IMS New Green">
      <a:srgbClr val="9BB819"/>
    </a:custClr>
    <a:custClr name="IMS Dark Blue">
      <a:srgbClr val="002868"/>
    </a:custClr>
    <a:custClr name="IMS Cyan">
      <a:srgbClr val="69C0C9"/>
    </a:custClr>
    <a:custClr name="IMS Gray">
      <a:srgbClr val="848484"/>
    </a:custClr>
    <a:custClr name="IMS Light Blue">
      <a:srgbClr val="D5E4F3"/>
    </a:custClr>
    <a:custClr name="IMS Stone">
      <a:srgbClr val="C5C19D"/>
    </a:custClr>
    <a:custClr name="IMS Red">
      <a:srgbClr val="992135"/>
    </a:custClr>
    <a:custClr name="IMS Clay">
      <a:srgbClr val="B7A08B"/>
    </a:custClr>
    <a:custClr name="IMS New Seafoam">
      <a:srgbClr val="73AFB6"/>
    </a:custClr>
    <a:custClr name="IMS Yellow">
      <a:srgbClr val="FDC630"/>
    </a:custClr>
    <a:custClr name="IMS Brown">
      <a:srgbClr val="80561B"/>
    </a:custClr>
    <a:custClr name="IMS Light Warm Gray">
      <a:srgbClr val="E9E3DC"/>
    </a:custClr>
  </a:custClrLst>
</a:theme>
</file>

<file path=ppt/theme/theme5.xml><?xml version="1.0" encoding="utf-8"?>
<a:theme xmlns:a="http://schemas.openxmlformats.org/drawingml/2006/main" name="5_blank">
  <a:themeElements>
    <a:clrScheme name="ims">
      <a:dk1>
        <a:srgbClr val="111111"/>
      </a:dk1>
      <a:lt1>
        <a:srgbClr val="FFFFFF"/>
      </a:lt1>
      <a:dk2>
        <a:srgbClr val="0E0733"/>
      </a:dk2>
      <a:lt2>
        <a:srgbClr val="2E8D9E"/>
      </a:lt2>
      <a:accent1>
        <a:srgbClr val="80561B"/>
      </a:accent1>
      <a:accent2>
        <a:srgbClr val="0F6800"/>
      </a:accent2>
      <a:accent3>
        <a:srgbClr val="002868"/>
      </a:accent3>
      <a:accent4>
        <a:srgbClr val="992135"/>
      </a:accent4>
      <a:accent5>
        <a:srgbClr val="848484"/>
      </a:accent5>
      <a:accent6>
        <a:srgbClr val="C0C0C0"/>
      </a:accent6>
      <a:hlink>
        <a:srgbClr val="002868"/>
      </a:hlink>
      <a:folHlink>
        <a:srgbClr val="992135"/>
      </a:folHlink>
    </a:clrScheme>
    <a:fontScheme name="IMS Font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IMS Orange">
      <a:srgbClr val="F98F1E"/>
    </a:custClr>
    <a:custClr name="IMS Blue">
      <a:srgbClr val="4F8ABE"/>
    </a:custClr>
    <a:custClr name="IMS New Green">
      <a:srgbClr val="9BB819"/>
    </a:custClr>
    <a:custClr name="IMS Dark Blue">
      <a:srgbClr val="002868"/>
    </a:custClr>
    <a:custClr name="IMS Cyan">
      <a:srgbClr val="69C0C9"/>
    </a:custClr>
    <a:custClr name="IMS Gray">
      <a:srgbClr val="848484"/>
    </a:custClr>
    <a:custClr name="IMS Light Blue">
      <a:srgbClr val="D5E4F3"/>
    </a:custClr>
    <a:custClr name="IMS Stone">
      <a:srgbClr val="C5C19D"/>
    </a:custClr>
    <a:custClr name="IMS Red">
      <a:srgbClr val="992135"/>
    </a:custClr>
    <a:custClr name="IMS Clay">
      <a:srgbClr val="B7A08B"/>
    </a:custClr>
    <a:custClr name="IMS New Seafoam">
      <a:srgbClr val="73AFB6"/>
    </a:custClr>
    <a:custClr name="IMS Yellow">
      <a:srgbClr val="FDC630"/>
    </a:custClr>
    <a:custClr name="IMS Brown">
      <a:srgbClr val="80561B"/>
    </a:custClr>
    <a:custClr name="IMS Light Warm Gray">
      <a:srgbClr val="E9E3DC"/>
    </a:custClr>
  </a:custClrLst>
</a:theme>
</file>

<file path=ppt/theme/theme6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250</TotalTime>
  <Words>334</Words>
  <Application>Microsoft Office PowerPoint</Application>
  <PresentationFormat>Widescreen</PresentationFormat>
  <Paragraphs>165</Paragraphs>
  <Slides>9</Slides>
  <Notes>6</Notes>
  <HiddenSlides>0</HiddenSlides>
  <MMClips>0</MMClips>
  <ScaleCrop>false</ScaleCrop>
  <HeadingPairs>
    <vt:vector size="8" baseType="variant">
      <vt:variant>
        <vt:lpstr>Fontes usadas</vt:lpstr>
      </vt:variant>
      <vt:variant>
        <vt:i4>5</vt:i4>
      </vt:variant>
      <vt:variant>
        <vt:lpstr>Tema</vt:lpstr>
      </vt:variant>
      <vt:variant>
        <vt:i4>5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9</vt:i4>
      </vt:variant>
    </vt:vector>
  </HeadingPairs>
  <TitlesOfParts>
    <vt:vector size="20" baseType="lpstr">
      <vt:lpstr>ＭＳ Ｐゴシック</vt:lpstr>
      <vt:lpstr>Arial</vt:lpstr>
      <vt:lpstr>Calibri</vt:lpstr>
      <vt:lpstr>Verdana</vt:lpstr>
      <vt:lpstr>Wingdings</vt:lpstr>
      <vt:lpstr>1_Tema1</vt:lpstr>
      <vt:lpstr>blank</vt:lpstr>
      <vt:lpstr>4_Merck Soreno  02-2012</vt:lpstr>
      <vt:lpstr>4_blank</vt:lpstr>
      <vt:lpstr>5_blank</vt:lpstr>
      <vt:lpstr>think-cell Slide</vt:lpstr>
      <vt:lpstr>TCC</vt:lpstr>
      <vt:lpstr>Apresentação do PowerPoint</vt:lpstr>
      <vt:lpstr>Apresentação do PowerPoint</vt:lpstr>
      <vt:lpstr>Stakeholder Analysis</vt:lpstr>
      <vt:lpstr>Apresentação do PowerPoint</vt:lpstr>
      <vt:lpstr>Análise de concorrentes diretos</vt:lpstr>
      <vt:lpstr>Product Characterization</vt:lpstr>
      <vt:lpstr>Apresentação do PowerPoint</vt:lpstr>
      <vt:lpstr>SWOT Analysi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nhecendo os Stakeholders e Customizando Ações Multicanal</dc:title>
  <dc:creator>Luís Chinatto</dc:creator>
  <cp:lastModifiedBy>LUIS F CHINATTO</cp:lastModifiedBy>
  <cp:revision>289</cp:revision>
  <dcterms:created xsi:type="dcterms:W3CDTF">2020-02-02T10:58:25Z</dcterms:created>
  <dcterms:modified xsi:type="dcterms:W3CDTF">2025-08-30T12:44:00Z</dcterms:modified>
</cp:coreProperties>
</file>